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1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tags/tag2.xml" ContentType="application/vnd.openxmlformats-officedocument.presentationml.tags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6" Type="http://schemas.openxmlformats.org/officeDocument/2006/relationships/custom-properties" Target="docProps/custom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721" r:id="rId1"/>
  </p:sldMasterIdLst>
  <p:notesMasterIdLst>
    <p:notesMasterId r:id="rId12"/>
  </p:notesMasterIdLst>
  <p:handoutMasterIdLst>
    <p:handoutMasterId r:id="rId13"/>
  </p:handoutMasterIdLst>
  <p:sldIdLst>
    <p:sldId id="256" r:id="rId2"/>
    <p:sldId id="2147472828" r:id="rId3"/>
    <p:sldId id="259" r:id="rId4"/>
    <p:sldId id="2147472705" r:id="rId5"/>
    <p:sldId id="257" r:id="rId6"/>
    <p:sldId id="258" r:id="rId7"/>
    <p:sldId id="2147472554" r:id="rId8"/>
    <p:sldId id="260" r:id="rId9"/>
    <p:sldId id="315" r:id="rId10"/>
    <p:sldId id="316" r:id="rId11"/>
  </p:sldIdLst>
  <p:sldSz cx="9144000" cy="5143500" type="screen16x9"/>
  <p:notesSz cx="7023100" cy="9309100"/>
  <p:defaultTextStyle>
    <a:defPPr>
      <a:defRPr lang="en-US"/>
    </a:defPPr>
    <a:lvl1pPr marL="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1pPr>
    <a:lvl2pPr marL="3429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2pPr>
    <a:lvl3pPr marL="6858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3pPr>
    <a:lvl4pPr marL="10287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4pPr>
    <a:lvl5pPr marL="13716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5pPr>
    <a:lvl6pPr marL="17145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6pPr>
    <a:lvl7pPr marL="20574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7pPr>
    <a:lvl8pPr marL="24003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8pPr>
    <a:lvl9pPr marL="27432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2" name="Author" initials="A" lastIdx="0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242423"/>
    <a:srgbClr val="FF00FF"/>
    <a:srgbClr val="141413"/>
    <a:srgbClr val="030303"/>
    <a:srgbClr val="F1EFEB"/>
    <a:srgbClr val="B3B0A9"/>
    <a:srgbClr val="D3CFC8"/>
    <a:srgbClr val="F0EEEB"/>
    <a:srgbClr val="D2CFC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0E3FDE45-AF77-4B5C-9715-49D594BDF05E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93D81CF-94F2-401A-BA57-92F5A7B2D0C5}" styleName="Medium Style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912C8C85-51F0-491E-9774-3900AFEF0FD7}" styleName="Light Style 2 - Accent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  <a:tblStyle styleId="{0E3FDE45-AF77-4B5C-9715-49D594BDF05E}" styleName="Light Style 1 - Accent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72833802-FEF1-4C79-8D5D-14CF1EAF98D9}" styleName="Light Style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284E427A-3D55-4303-BF80-6455036E1DE7}" styleName="Themed Style 1 - Accent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18603FDC-E32A-4AB5-989C-0864C3EAD2B8}" styleName="Themed Style 2 - Accent 2">
    <a:tblBg>
      <a:fillRef idx="3">
        <a:schemeClr val="accent2"/>
      </a:fillRef>
      <a:effectRef idx="3">
        <a:schemeClr val="accent2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2">
                <a:tint val="50000"/>
              </a:schemeClr>
            </a:lnRef>
          </a:left>
          <a:right>
            <a:lnRef idx="1">
              <a:schemeClr val="accent2">
                <a:tint val="50000"/>
              </a:schemeClr>
            </a:lnRef>
          </a:right>
          <a:top>
            <a:lnRef idx="1">
              <a:schemeClr val="accent2">
                <a:tint val="50000"/>
              </a:schemeClr>
            </a:lnRef>
          </a:top>
          <a:bottom>
            <a:lnRef idx="1">
              <a:schemeClr val="accent2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5DA37D80-6434-44D0-A028-1B22A696006F}" styleName="Light Style 3 - Accent 2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9DCAF9ED-07DC-4A11-8D7F-57B35C25682E}" styleName="Medium Style 1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6980" autoAdjust="0"/>
    <p:restoredTop sz="92688" autoAdjust="0"/>
  </p:normalViewPr>
  <p:slideViewPr>
    <p:cSldViewPr snapToGrid="0">
      <p:cViewPr varScale="1">
        <p:scale>
          <a:sx n="123" d="100"/>
          <a:sy n="123" d="100"/>
        </p:scale>
        <p:origin x="250" y="91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>
      <p:cViewPr>
        <p:scale>
          <a:sx n="75" d="100"/>
          <a:sy n="75" d="100"/>
        </p:scale>
        <p:origin x="3972" y="63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handoutMaster" Target="handoutMasters/handoutMaster1.xml"/><Relationship Id="rId1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notesMaster" Target="notesMasters/notesMaster1.xml"/><Relationship Id="rId17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microsoft.com/office/2016/11/relationships/changesInfo" Target="changesInfos/changesInfo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commentAuthors" Target="commentAuthor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Craig Kirkland" userId="ca01ce51-adb1-43bf-aa8d-25c0d83510f1" providerId="ADAL" clId="{F5C8C4A5-CC4C-4841-A5C3-20B8C4C480C8}"/>
    <pc:docChg chg="delSld">
      <pc:chgData name="Craig Kirkland" userId="ca01ce51-adb1-43bf-aa8d-25c0d83510f1" providerId="ADAL" clId="{F5C8C4A5-CC4C-4841-A5C3-20B8C4C480C8}" dt="2023-11-04T23:14:07.095" v="8" actId="47"/>
      <pc:docMkLst>
        <pc:docMk/>
      </pc:docMkLst>
      <pc:sldChg chg="del">
        <pc:chgData name="Craig Kirkland" userId="ca01ce51-adb1-43bf-aa8d-25c0d83510f1" providerId="ADAL" clId="{F5C8C4A5-CC4C-4841-A5C3-20B8C4C480C8}" dt="2023-11-04T23:14:04.892" v="3" actId="47"/>
        <pc:sldMkLst>
          <pc:docMk/>
          <pc:sldMk cId="184843553" sldId="317"/>
        </pc:sldMkLst>
      </pc:sldChg>
      <pc:sldChg chg="del">
        <pc:chgData name="Craig Kirkland" userId="ca01ce51-adb1-43bf-aa8d-25c0d83510f1" providerId="ADAL" clId="{F5C8C4A5-CC4C-4841-A5C3-20B8C4C480C8}" dt="2023-11-04T23:14:06.488" v="7" actId="47"/>
        <pc:sldMkLst>
          <pc:docMk/>
          <pc:sldMk cId="1358996883" sldId="510"/>
        </pc:sldMkLst>
      </pc:sldChg>
      <pc:sldChg chg="del">
        <pc:chgData name="Craig Kirkland" userId="ca01ce51-adb1-43bf-aa8d-25c0d83510f1" providerId="ADAL" clId="{F5C8C4A5-CC4C-4841-A5C3-20B8C4C480C8}" dt="2023-11-04T23:14:05.730" v="5" actId="47"/>
        <pc:sldMkLst>
          <pc:docMk/>
          <pc:sldMk cId="653455668" sldId="513"/>
        </pc:sldMkLst>
      </pc:sldChg>
      <pc:sldChg chg="del">
        <pc:chgData name="Craig Kirkland" userId="ca01ce51-adb1-43bf-aa8d-25c0d83510f1" providerId="ADAL" clId="{F5C8C4A5-CC4C-4841-A5C3-20B8C4C480C8}" dt="2023-11-04T23:14:05.308" v="4" actId="47"/>
        <pc:sldMkLst>
          <pc:docMk/>
          <pc:sldMk cId="3531877454" sldId="521"/>
        </pc:sldMkLst>
      </pc:sldChg>
      <pc:sldChg chg="del">
        <pc:chgData name="Craig Kirkland" userId="ca01ce51-adb1-43bf-aa8d-25c0d83510f1" providerId="ADAL" clId="{F5C8C4A5-CC4C-4841-A5C3-20B8C4C480C8}" dt="2023-11-04T23:14:06.087" v="6" actId="47"/>
        <pc:sldMkLst>
          <pc:docMk/>
          <pc:sldMk cId="2708989043" sldId="552"/>
        </pc:sldMkLst>
      </pc:sldChg>
      <pc:sldChg chg="del">
        <pc:chgData name="Craig Kirkland" userId="ca01ce51-adb1-43bf-aa8d-25c0d83510f1" providerId="ADAL" clId="{F5C8C4A5-CC4C-4841-A5C3-20B8C4C480C8}" dt="2023-11-04T23:14:04.021" v="1" actId="47"/>
        <pc:sldMkLst>
          <pc:docMk/>
          <pc:sldMk cId="3815146316" sldId="2147472829"/>
        </pc:sldMkLst>
      </pc:sldChg>
      <pc:sldChg chg="del">
        <pc:chgData name="Craig Kirkland" userId="ca01ce51-adb1-43bf-aa8d-25c0d83510f1" providerId="ADAL" clId="{F5C8C4A5-CC4C-4841-A5C3-20B8C4C480C8}" dt="2023-11-04T23:14:04.491" v="2" actId="47"/>
        <pc:sldMkLst>
          <pc:docMk/>
          <pc:sldMk cId="910750578" sldId="2147472830"/>
        </pc:sldMkLst>
      </pc:sldChg>
      <pc:sldChg chg="del">
        <pc:chgData name="Craig Kirkland" userId="ca01ce51-adb1-43bf-aa8d-25c0d83510f1" providerId="ADAL" clId="{F5C8C4A5-CC4C-4841-A5C3-20B8C4C480C8}" dt="2023-11-04T23:14:07.095" v="8" actId="47"/>
        <pc:sldMkLst>
          <pc:docMk/>
          <pc:sldMk cId="2749874993" sldId="2147472831"/>
        </pc:sldMkLst>
      </pc:sldChg>
      <pc:sldChg chg="del">
        <pc:chgData name="Craig Kirkland" userId="ca01ce51-adb1-43bf-aa8d-25c0d83510f1" providerId="ADAL" clId="{F5C8C4A5-CC4C-4841-A5C3-20B8C4C480C8}" dt="2023-11-04T23:14:03.520" v="0" actId="47"/>
        <pc:sldMkLst>
          <pc:docMk/>
          <pc:sldMk cId="822460506" sldId="2147472833"/>
        </pc:sldMkLst>
      </pc:sldChg>
      <pc:sldMasterChg chg="delSldLayout">
        <pc:chgData name="Craig Kirkland" userId="ca01ce51-adb1-43bf-aa8d-25c0d83510f1" providerId="ADAL" clId="{F5C8C4A5-CC4C-4841-A5C3-20B8C4C480C8}" dt="2023-11-04T23:14:06.087" v="6" actId="47"/>
        <pc:sldMasterMkLst>
          <pc:docMk/>
          <pc:sldMasterMk cId="2338630973" sldId="2147483721"/>
        </pc:sldMasterMkLst>
        <pc:sldLayoutChg chg="del">
          <pc:chgData name="Craig Kirkland" userId="ca01ce51-adb1-43bf-aa8d-25c0d83510f1" providerId="ADAL" clId="{F5C8C4A5-CC4C-4841-A5C3-20B8C4C480C8}" dt="2023-11-04T23:14:06.087" v="6" actId="47"/>
          <pc:sldLayoutMkLst>
            <pc:docMk/>
            <pc:sldMasterMk cId="2338630973" sldId="2147483721"/>
            <pc:sldLayoutMk cId="2322512926" sldId="2147483749"/>
          </pc:sldLayoutMkLst>
        </pc:sldLayoutChg>
      </pc:sldMaster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5"/>
          <p:cNvSpPr>
            <a:spLocks noGrp="1"/>
          </p:cNvSpPr>
          <p:nvPr>
            <p:ph type="sldNum" sz="quarter" idx="3"/>
          </p:nvPr>
        </p:nvSpPr>
        <p:spPr>
          <a:xfrm>
            <a:off x="3978132" y="8842030"/>
            <a:ext cx="3043343" cy="467071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r">
              <a:defRPr sz="1200"/>
            </a:lvl1pPr>
          </a:lstStyle>
          <a:p>
            <a:fld id="{AB53C8EB-E3D3-454A-A062-9B9000C8907A}" type="slidenum">
              <a:rPr lang="en-US" smtClean="0">
                <a:latin typeface="Mark Offc For MC" panose="020B0504020101010102" pitchFamily="34" charset="0"/>
              </a:rPr>
              <a:t>‹#›</a:t>
            </a:fld>
            <a:endParaRPr lang="en-US" dirty="0">
              <a:latin typeface="Mark Offc For MC" panose="020B0504020101010102" pitchFamily="34" charset="0"/>
            </a:endParaRPr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2"/>
          </p:nvPr>
        </p:nvSpPr>
        <p:spPr>
          <a:xfrm>
            <a:off x="0" y="8842030"/>
            <a:ext cx="3043343" cy="467071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l">
              <a:defRPr sz="1200"/>
            </a:lvl1pPr>
          </a:lstStyle>
          <a:p>
            <a:endParaRPr lang="en-US" dirty="0">
              <a:latin typeface="Mark Offc For MC" panose="020B0504020101010102" pitchFamily="34" charset="0"/>
            </a:endParaRPr>
          </a:p>
        </p:txBody>
      </p:sp>
      <p:sp>
        <p:nvSpPr>
          <p:cNvPr id="3" name="Date Placeholder 3"/>
          <p:cNvSpPr>
            <a:spLocks noGrp="1"/>
          </p:cNvSpPr>
          <p:nvPr>
            <p:ph type="dt" sz="quarter" idx="1"/>
          </p:nvPr>
        </p:nvSpPr>
        <p:spPr>
          <a:xfrm>
            <a:off x="3978132" y="0"/>
            <a:ext cx="3043343" cy="467072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r">
              <a:defRPr sz="1200"/>
            </a:lvl1pPr>
          </a:lstStyle>
          <a:p>
            <a:endParaRPr lang="en-US" dirty="0">
              <a:latin typeface="Mark Offc For MC" panose="020B0504020101010102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1434132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5"/>
          <p:cNvSpPr>
            <a:spLocks noGrp="1"/>
          </p:cNvSpPr>
          <p:nvPr>
            <p:ph type="sldNum" sz="quarter" idx="5"/>
          </p:nvPr>
        </p:nvSpPr>
        <p:spPr>
          <a:xfrm>
            <a:off x="3978132" y="8842030"/>
            <a:ext cx="3043343" cy="467071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r">
              <a:defRPr sz="1200">
                <a:latin typeface="Mark Offc For MC" panose="020B0504020101010102" pitchFamily="34" charset="0"/>
              </a:defRPr>
            </a:lvl1pPr>
          </a:lstStyle>
          <a:p>
            <a:fld id="{9D321C93-C6C5-43C9-BDBB-3B3926036F6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4"/>
          </p:nvPr>
        </p:nvSpPr>
        <p:spPr>
          <a:xfrm>
            <a:off x="0" y="8842030"/>
            <a:ext cx="3043343" cy="467071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l">
              <a:defRPr sz="1200">
                <a:latin typeface="Mark Offc For MC" panose="020B0504020101010102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" name="Date Placeholder 3"/>
          <p:cNvSpPr>
            <a:spLocks noGrp="1"/>
          </p:cNvSpPr>
          <p:nvPr>
            <p:ph type="dt" idx="1"/>
          </p:nvPr>
        </p:nvSpPr>
        <p:spPr>
          <a:xfrm>
            <a:off x="3978132" y="0"/>
            <a:ext cx="3043343" cy="467072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r">
              <a:defRPr sz="1200">
                <a:latin typeface="Mark Offc For MC" panose="020B0504020101010102" pitchFamily="34" charset="0"/>
              </a:defRPr>
            </a:lvl1pPr>
          </a:lstStyle>
          <a:p>
            <a:r>
              <a:rPr lang="en-US"/>
              <a:t>October 31, 2023</a:t>
            </a:r>
            <a:endParaRPr lang="en-US" dirty="0"/>
          </a:p>
        </p:txBody>
      </p:sp>
      <p:sp>
        <p:nvSpPr>
          <p:cNvPr id="2" name="Header Placeholder 2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43343" cy="467072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l">
              <a:defRPr sz="1200">
                <a:latin typeface="Mark Offc For MC" panose="020B0504020101010102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2310" y="4480004"/>
            <a:ext cx="5618480" cy="3665458"/>
          </a:xfrm>
          <a:prstGeom prst="rect">
            <a:avLst/>
          </a:prstGeom>
        </p:spPr>
        <p:txBody>
          <a:bodyPr vert="horz" lIns="93324" tIns="46662" rIns="93324" bIns="46662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19138" y="1163638"/>
            <a:ext cx="5584825" cy="314166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324" tIns="46662" rIns="93324" bIns="46662" rtlCol="0" anchor="ctr"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47397711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685800" rtl="0" eaLnBrk="1" latinLnBrk="0" hangingPunct="1">
      <a:defRPr sz="900" kern="1200">
        <a:solidFill>
          <a:schemeClr val="tx1"/>
        </a:solidFill>
        <a:latin typeface="Mark Offc For MC" panose="020B0504020101010102" pitchFamily="34" charset="0"/>
        <a:ea typeface="+mn-ea"/>
        <a:cs typeface="+mn-cs"/>
      </a:defRPr>
    </a:lvl1pPr>
    <a:lvl2pPr marL="228600" indent="-228600" algn="l" defTabSz="685800" rtl="0" eaLnBrk="1" latinLnBrk="0" hangingPunct="1">
      <a:buFont typeface="Mark Offc For MC" panose="020B0504020101010102" pitchFamily="34" charset="0"/>
      <a:buChar char="•"/>
      <a:defRPr sz="900" kern="1200">
        <a:solidFill>
          <a:schemeClr val="tx1"/>
        </a:solidFill>
        <a:latin typeface="Mark Offc For MC" panose="020B0504020101010102" pitchFamily="34" charset="0"/>
        <a:ea typeface="+mn-ea"/>
        <a:cs typeface="+mn-cs"/>
      </a:defRPr>
    </a:lvl2pPr>
    <a:lvl3pPr marL="406400" indent="-177800" algn="l" defTabSz="685800" rtl="0" eaLnBrk="1" latinLnBrk="0" hangingPunct="1">
      <a:buFont typeface="Mark Offc For MC" panose="020B0504020101010102" pitchFamily="34" charset="0"/>
      <a:buChar char="–"/>
      <a:defRPr sz="900" kern="1200">
        <a:solidFill>
          <a:schemeClr val="tx1"/>
        </a:solidFill>
        <a:latin typeface="Mark Offc For MC" panose="020B0504020101010102" pitchFamily="34" charset="0"/>
        <a:ea typeface="+mn-ea"/>
        <a:cs typeface="+mn-cs"/>
      </a:defRPr>
    </a:lvl3pPr>
    <a:lvl4pPr marL="577850" indent="-171450" algn="l" defTabSz="685800" rtl="0" eaLnBrk="1" latinLnBrk="0" hangingPunct="1">
      <a:buFont typeface="Mark Offc For MC" panose="020B0504020101010102" pitchFamily="34" charset="0"/>
      <a:buChar char="•"/>
      <a:defRPr sz="900" kern="1200">
        <a:solidFill>
          <a:schemeClr val="tx1"/>
        </a:solidFill>
        <a:latin typeface="Mark Offc For MC" panose="020B0504020101010102" pitchFamily="34" charset="0"/>
        <a:ea typeface="+mn-ea"/>
        <a:cs typeface="+mn-cs"/>
      </a:defRPr>
    </a:lvl4pPr>
    <a:lvl5pPr marL="800100" indent="-228600" algn="l" defTabSz="685800" rtl="0" eaLnBrk="1" latinLnBrk="0" hangingPunct="1">
      <a:buFont typeface="Mark Offc For MC" panose="020B0504020101010102" pitchFamily="34" charset="0"/>
      <a:buChar char="–"/>
      <a:defRPr sz="900" kern="1200">
        <a:solidFill>
          <a:schemeClr val="tx1"/>
        </a:solidFill>
        <a:latin typeface="Mark Offc For MC" panose="020B0504020101010102" pitchFamily="34" charset="0"/>
        <a:ea typeface="+mn-ea"/>
        <a:cs typeface="+mn-cs"/>
      </a:defRPr>
    </a:lvl5pPr>
    <a:lvl6pPr marL="17145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6pPr>
    <a:lvl7pPr marL="20574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7pPr>
    <a:lvl8pPr marL="24003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8pPr>
    <a:lvl9pPr marL="27432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D321C93-C6C5-43C9-BDBB-3B3926036F61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30558938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D321C93-C6C5-43C9-BDBB-3B3926036F61}" type="slidenum">
              <a:rPr lang="en-US" smtClean="0"/>
              <a:pPr/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9229986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D321C93-C6C5-43C9-BDBB-3B3926036F61}" type="slidenum">
              <a:rPr lang="en-US" smtClean="0"/>
              <a:pPr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372633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D321C93-C6C5-43C9-BDBB-3B3926036F61}" type="slidenum">
              <a:rPr lang="en-US" smtClean="0"/>
              <a:pPr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3491983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dirty="0"/>
              <a:t>Speaker: Lucas</a:t>
            </a:r>
          </a:p>
          <a:p>
            <a:pPr rtl="0" font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AU" sz="1800" dirty="0">
                <a:effectLst/>
                <a:latin typeface="Calibri" panose="020F0502020204030204" pitchFamily="34" charset="0"/>
              </a:rPr>
              <a:t>Well the truth is, cash continues to be extremely resilient. Its universal acceptance, its convenience in handling low-value purchases and innate anonymity continue to justify its existence. It’s evident that even with the growth of payment technologies such as e-wallets and contactless cards have still been unable to completely displace the tangibility of cash. The prevalence of cash however does come with many risks.  </a:t>
            </a:r>
          </a:p>
          <a:p>
            <a:pPr rtl="0" font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AU" sz="1800" dirty="0">
                <a:effectLst/>
                <a:latin typeface="Calibri" panose="020F0502020204030204" pitchFamily="34" charset="0"/>
              </a:rPr>
              <a:t>These include but are not limited to: </a:t>
            </a:r>
          </a:p>
          <a:p>
            <a:pPr rtl="0" fontAlgn="ctr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</a:pPr>
            <a:r>
              <a:rPr lang="en-AU" sz="1800" b="0" i="0" dirty="0">
                <a:effectLst/>
                <a:latin typeface="Calibri" panose="020F0502020204030204" pitchFamily="34" charset="0"/>
              </a:rPr>
              <a:t>Firstly, Inefficient financial systems – where the management of cash is extremely time consuming, with all parties in the payment system bearing costs across the value chain</a:t>
            </a:r>
            <a:endParaRPr lang="en-AU" sz="1800" dirty="0">
              <a:effectLst/>
              <a:latin typeface="Calibri" panose="020F0502020204030204" pitchFamily="34" charset="0"/>
            </a:endParaRPr>
          </a:p>
          <a:p>
            <a:pPr rtl="0" fontAlgn="ctr">
              <a:spcBef>
                <a:spcPts val="0"/>
              </a:spcBef>
              <a:spcAft>
                <a:spcPts val="0"/>
              </a:spcAft>
              <a:buFont typeface="+mj-lt"/>
              <a:buAutoNum type="arabicPeriod" startAt="2"/>
            </a:pPr>
            <a:r>
              <a:rPr lang="en-AU" sz="1800" b="0" i="0" dirty="0">
                <a:effectLst/>
                <a:latin typeface="Calibri" panose="020F0502020204030204" pitchFamily="34" charset="0"/>
              </a:rPr>
              <a:t>A shadow or 'informal' economy, with missed tax revenues from unreported income due to businesses and individuals engaging in inappropriate practices </a:t>
            </a:r>
            <a:endParaRPr lang="en-AU" sz="1800" dirty="0">
              <a:effectLst/>
              <a:latin typeface="Calibri" panose="020F0502020204030204" pitchFamily="34" charset="0"/>
            </a:endParaRPr>
          </a:p>
          <a:p>
            <a:pPr rtl="0" fontAlgn="ctr">
              <a:spcBef>
                <a:spcPts val="0"/>
              </a:spcBef>
              <a:spcAft>
                <a:spcPts val="0"/>
              </a:spcAft>
              <a:buFont typeface="+mj-lt"/>
              <a:buAutoNum type="arabicPeriod" startAt="3"/>
            </a:pPr>
            <a:r>
              <a:rPr lang="en-AU" sz="1800" b="0" i="0" dirty="0">
                <a:effectLst/>
                <a:latin typeface="Calibri" panose="020F0502020204030204" pitchFamily="34" charset="0"/>
              </a:rPr>
              <a:t>Financial exclusion - cash economies results in merchants and consumers have reduced access to common financial services and education that will better serve their needs to achieving a better quality of life.</a:t>
            </a:r>
            <a:endParaRPr lang="en-AU" sz="1800" dirty="0">
              <a:effectLst/>
              <a:latin typeface="Calibri" panose="020F0502020204030204" pitchFamily="34" charset="0"/>
            </a:endParaRPr>
          </a:p>
          <a:p>
            <a:pPr rtl="0" fontAlgn="ctr">
              <a:spcBef>
                <a:spcPts val="0"/>
              </a:spcBef>
              <a:spcAft>
                <a:spcPts val="0"/>
              </a:spcAft>
              <a:buFont typeface="+mj-lt"/>
              <a:buAutoNum type="arabicPeriod" startAt="4"/>
            </a:pPr>
            <a:r>
              <a:rPr lang="en-AU" sz="1800" b="0" i="0" dirty="0">
                <a:effectLst/>
                <a:latin typeface="Calibri" panose="020F0502020204030204" pitchFamily="34" charset="0"/>
              </a:rPr>
              <a:t>Hindered economic growth - Reduced accessibility to payment acceptance methods reduces the ability for consumers and businesses to connect worldwide</a:t>
            </a:r>
            <a:r>
              <a:rPr lang="en-AU" sz="1800" dirty="0">
                <a:effectLst/>
                <a:latin typeface="Calibri" panose="020F0502020204030204" pitchFamily="34" charset="0"/>
              </a:rPr>
              <a:t> </a:t>
            </a:r>
          </a:p>
          <a:p>
            <a:pPr rtl="0" fontAlgn="ctr">
              <a:spcBef>
                <a:spcPts val="0"/>
              </a:spcBef>
              <a:spcAft>
                <a:spcPts val="0"/>
              </a:spcAft>
              <a:buFont typeface="+mj-lt"/>
              <a:buAutoNum type="arabicPeriod" startAt="5"/>
            </a:pPr>
            <a:r>
              <a:rPr lang="en-GB" sz="1800" b="0" i="0" dirty="0">
                <a:effectLst/>
                <a:latin typeface="Calibri" panose="020F0502020204030204" pitchFamily="34" charset="0"/>
              </a:rPr>
              <a:t>And last but not least, crime and corruption. Cash will always be a physical asset subject to theft which continues to be a threat to this day.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D321C93-C6C5-43C9-BDBB-3B3926036F61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171717"/>
                </a:solidFill>
                <a:effectLst/>
                <a:uLnTx/>
                <a:uFillTx/>
                <a:latin typeface="Mark Offc For MC" panose="020B0504020101010102" pitchFamily="34" charset="0"/>
                <a:ea typeface="+mn-ea"/>
                <a:cs typeface="+mn-cs"/>
              </a:rPr>
              <a:pPr marL="0" marR="0" lvl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171717"/>
              </a:solidFill>
              <a:effectLst/>
              <a:uLnTx/>
              <a:uFillTx/>
              <a:latin typeface="Mark Offc For MC" panose="020B0504020101010102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2782639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D321C93-C6C5-43C9-BDBB-3B3926036F61}" type="slidenum">
              <a:rPr lang="en-US" smtClean="0"/>
              <a:pPr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5691458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D321C93-C6C5-43C9-BDBB-3B3926036F61}" type="slidenum">
              <a:rPr lang="en-US" smtClean="0"/>
              <a:pPr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9146080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accent3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Speaker: James</a:t>
            </a:r>
          </a:p>
          <a:p>
            <a:pPr marL="171450" marR="0" lvl="0" indent="-171450" algn="l" defTabSz="6858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accent3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AU" sz="9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ark Offc For MC-MarkF-ZCAE7wLp"/>
                <a:ea typeface="+mn-ea"/>
                <a:cs typeface="+mn-cs"/>
              </a:rPr>
              <a:t>Digital payments has been expanding across the globe, this was accelerated by the recent pandemic where we saw permanent changes to the way consumers spend online and in-stores, this challenged the way merchants accepted payments and banks/fintechs had to adapt quickly to these changes.</a:t>
            </a:r>
          </a:p>
          <a:p>
            <a:pPr marL="171450" marR="0" lvl="0" indent="-171450" algn="l" defTabSz="6858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accent3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AU" sz="9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ark Offc For MC-MarkF-ZCAE7wLp"/>
                <a:ea typeface="+mn-ea"/>
                <a:cs typeface="+mn-cs"/>
              </a:rPr>
              <a:t>During this time there were significant technological advancements that ultimately enhanced customer experiences that allowed them to make quicker and safer payments.</a:t>
            </a:r>
          </a:p>
          <a:p>
            <a:pPr marL="171450" marR="0" lvl="0" indent="-171450" algn="l" defTabSz="6858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accent3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AU" sz="9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ark Offc For MC-MarkF-ZCAE7wLp"/>
                <a:ea typeface="+mn-ea"/>
                <a:cs typeface="+mn-cs"/>
              </a:rPr>
              <a:t>Some of the fastest growth in digital payments occurred in Africa and Southeast Asia, where low banking penetration gave payments providers opportunities to capture untapped potential and reach underserved populations.</a:t>
            </a:r>
          </a:p>
          <a:p>
            <a:pPr marL="171450" marR="0" lvl="0" indent="-171450" algn="l" defTabSz="6858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accent3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AU" sz="9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ark Offc For MC-MarkF-ZCAE7wLp"/>
              <a:ea typeface="+mn-ea"/>
              <a:cs typeface="+mn-cs"/>
            </a:endParaRPr>
          </a:p>
          <a:p>
            <a:pPr marL="171450" marR="0" lvl="0" indent="-171450" algn="l" defTabSz="6858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accent3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AU" sz="9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ark Offc For MC-MarkF-ZCAE7wLp"/>
                <a:ea typeface="+mn-ea"/>
                <a:cs typeface="+mn-cs"/>
              </a:rPr>
              <a:t>The Mastercard team spent a lot of time researching developing and developed markets to see globally what were the most recent and prevalent trends and have summarised them here.</a:t>
            </a:r>
          </a:p>
          <a:p>
            <a:pPr marL="171450" marR="0" lvl="0" indent="-171450" algn="l" defTabSz="6858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accent3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AU" sz="9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ark Offc For MC-MarkF-ZCAE7wLp"/>
                <a:ea typeface="+mn-ea"/>
                <a:cs typeface="+mn-cs"/>
              </a:rPr>
              <a:t>I’ll go through a few examples:</a:t>
            </a:r>
          </a:p>
          <a:p>
            <a:pPr marL="171450" marR="0" lvl="0" indent="-171450" algn="l" defTabSz="6858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accent3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AU" sz="9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ark Offc For MC-MarkF-ZCAE7wLp"/>
                <a:ea typeface="+mn-ea"/>
                <a:cs typeface="+mn-cs"/>
              </a:rPr>
              <a:t>We know consumers are always looking for more convenience, spending and shopping through the phone is just so easy and personalised which allows an overall quicker and targeted customer journey</a:t>
            </a:r>
          </a:p>
          <a:p>
            <a:pPr marL="171450" marR="0" lvl="0" indent="-171450" algn="l" defTabSz="6858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accent3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AU" sz="9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ark Offc For MC-MarkF-ZCAE7wLp"/>
                <a:ea typeface="+mn-ea"/>
                <a:cs typeface="+mn-cs"/>
              </a:rPr>
              <a:t>M-Paisa is widely used here in Fiji and a similar product exist in Kenya, which has allowed more underbanked locals to use digital payments</a:t>
            </a:r>
          </a:p>
          <a:p>
            <a:pPr marL="171450" marR="0" lvl="0" indent="-171450" algn="l" defTabSz="6858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accent3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AU" sz="9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ark Offc For MC-MarkF-ZCAE7wLp"/>
                <a:ea typeface="+mn-ea"/>
                <a:cs typeface="+mn-cs"/>
              </a:rPr>
              <a:t>Contactless became important during COVID as it was just so much easier to spend and pay without touching any cards or terminals</a:t>
            </a:r>
          </a:p>
          <a:p>
            <a:pPr marL="171450" marR="0" lvl="0" indent="-171450" algn="l" defTabSz="6858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accent3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AU" sz="9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ark Offc For MC-MarkF-ZCAE7wLp"/>
                <a:ea typeface="+mn-ea"/>
                <a:cs typeface="+mn-cs"/>
              </a:rPr>
              <a:t>Finally, we saw smart cities initiatives shifting entire economies to digital and making day to day life easier for all, such as toll payment apps and card payments for buses and train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D321C93-C6C5-43C9-BDBB-3B3926036F61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171717"/>
                </a:solidFill>
                <a:effectLst/>
                <a:uLnTx/>
                <a:uFillTx/>
                <a:latin typeface="Mark Offc For MC" panose="020B0504020101010102" pitchFamily="34" charset="0"/>
                <a:ea typeface="+mn-ea"/>
                <a:cs typeface="+mn-cs"/>
              </a:rPr>
              <a:pPr marL="0" marR="0" lvl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171717"/>
              </a:solidFill>
              <a:effectLst/>
              <a:uLnTx/>
              <a:uFillTx/>
              <a:latin typeface="Mark Offc For MC" panose="020B0504020101010102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1660964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D321C93-C6C5-43C9-BDBB-3B3926036F61}" type="slidenum">
              <a:rPr lang="en-US" smtClean="0"/>
              <a:pPr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7888468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D321C93-C6C5-43C9-BDBB-3B3926036F61}" type="slidenum">
              <a:rPr lang="en-US" smtClean="0"/>
              <a:pPr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0260487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SlideNameDept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164592" y="3466431"/>
            <a:ext cx="3124200" cy="170816"/>
          </a:xfrm>
        </p:spPr>
        <p:txBody>
          <a:bodyPr vert="horz" lIns="91440" tIns="0" rIns="91440" bIns="45720" rtlCol="0" anchor="t" anchorCtr="0">
            <a:spAutoFit/>
          </a:bodyPr>
          <a:lstStyle>
            <a:lvl1pPr marL="115885" indent="-115885">
              <a:buNone/>
              <a:defRPr lang="en-US" sz="900" b="0" cap="none" baseline="0" dirty="0" smtClean="0">
                <a:latin typeface="MarkForMC Nrw O" panose="020B0506020201010104" pitchFamily="34" charset="0"/>
              </a:defRPr>
            </a:lvl1pPr>
          </a:lstStyle>
          <a:p>
            <a:pPr marL="0" lvl="0" indent="0"/>
            <a:r>
              <a:rPr lang="en-US" dirty="0"/>
              <a:t>Click to add presenter name, department</a:t>
            </a:r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2"/>
          </p:nvPr>
        </p:nvSpPr>
        <p:spPr bwMode="gray">
          <a:xfrm>
            <a:off x="164592" y="3166956"/>
            <a:ext cx="3123564" cy="273844"/>
          </a:xfrm>
          <a:prstGeom prst="rect">
            <a:avLst/>
          </a:prstGeom>
        </p:spPr>
        <p:txBody>
          <a:bodyPr vert="horz" lIns="91440" tIns="45720" rIns="91440" bIns="0" rtlCol="0" anchor="b" anchorCtr="0"/>
          <a:lstStyle>
            <a:lvl1pPr>
              <a:defRPr lang="en-US" sz="900" cap="none" smtClean="0">
                <a:latin typeface="MarkForMC Nrw O" panose="020B0506020201010104" pitchFamily="34" charset="0"/>
              </a:defRPr>
            </a:lvl1pPr>
          </a:lstStyle>
          <a:p>
            <a:r>
              <a:rPr lang="en-US"/>
              <a:t>October 31, 2023</a:t>
            </a:r>
            <a:endParaRPr lang="en-US" dirty="0"/>
          </a:p>
        </p:txBody>
      </p:sp>
      <p:sp>
        <p:nvSpPr>
          <p:cNvPr id="25" name="Subtitle 2"/>
          <p:cNvSpPr>
            <a:spLocks noGrp="1"/>
          </p:cNvSpPr>
          <p:nvPr>
            <p:ph type="subTitle" idx="1"/>
          </p:nvPr>
        </p:nvSpPr>
        <p:spPr bwMode="gray">
          <a:xfrm>
            <a:off x="164591" y="2717911"/>
            <a:ext cx="6702552" cy="498725"/>
          </a:xfrm>
          <a:ln>
            <a:noFill/>
          </a:ln>
        </p:spPr>
        <p:txBody>
          <a:bodyPr rIns="91440"/>
          <a:lstStyle>
            <a:lvl1pPr marL="0" indent="0" algn="l">
              <a:lnSpc>
                <a:spcPct val="80000"/>
              </a:lnSpc>
              <a:buNone/>
              <a:defRPr sz="1400">
                <a:solidFill>
                  <a:schemeClr val="tx1"/>
                </a:solidFill>
                <a:latin typeface="Mark Offc For MC" panose="020B0504020101010102" pitchFamily="34" charset="0"/>
              </a:defRPr>
            </a:lvl1pPr>
            <a:lvl2pPr marL="342891" indent="0" algn="ctr">
              <a:buNone/>
              <a:defRPr sz="1500"/>
            </a:lvl2pPr>
            <a:lvl3pPr marL="685783" indent="0" algn="ctr">
              <a:buNone/>
              <a:defRPr sz="1351"/>
            </a:lvl3pPr>
            <a:lvl4pPr marL="1028674" indent="0" algn="ctr">
              <a:buNone/>
              <a:defRPr sz="1200"/>
            </a:lvl4pPr>
            <a:lvl5pPr marL="1371566" indent="0" algn="ctr">
              <a:buNone/>
              <a:defRPr sz="1200"/>
            </a:lvl5pPr>
            <a:lvl6pPr marL="1714457" indent="0" algn="ctr">
              <a:buNone/>
              <a:defRPr sz="1200"/>
            </a:lvl6pPr>
            <a:lvl7pPr marL="2057349" indent="0" algn="ctr">
              <a:buNone/>
              <a:defRPr sz="1200"/>
            </a:lvl7pPr>
            <a:lvl8pPr marL="2400240" indent="0" algn="ctr">
              <a:buNone/>
              <a:defRPr sz="1200"/>
            </a:lvl8pPr>
            <a:lvl9pPr marL="2743131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4" name="Title 1"/>
          <p:cNvSpPr>
            <a:spLocks noGrp="1"/>
          </p:cNvSpPr>
          <p:nvPr>
            <p:ph type="ctrTitle"/>
          </p:nvPr>
        </p:nvSpPr>
        <p:spPr bwMode="gray">
          <a:xfrm>
            <a:off x="164591" y="1430456"/>
            <a:ext cx="6702552" cy="1274195"/>
          </a:xfrm>
          <a:ln>
            <a:noFill/>
          </a:ln>
        </p:spPr>
        <p:txBody>
          <a:bodyPr rIns="91440" anchor="b"/>
          <a:lstStyle>
            <a:lvl1pPr algn="l">
              <a:lnSpc>
                <a:spcPct val="80000"/>
              </a:lnSpc>
              <a:defRPr sz="4800" b="0">
                <a:solidFill>
                  <a:schemeClr val="tx1"/>
                </a:solidFill>
                <a:latin typeface="Mark Offc For MC Extra Light" panose="020B0404020101010102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grpSp>
        <p:nvGrpSpPr>
          <p:cNvPr id="10" name="Graphic 9">
            <a:extLst>
              <a:ext uri="{FF2B5EF4-FFF2-40B4-BE49-F238E27FC236}">
                <a16:creationId xmlns:a16="http://schemas.microsoft.com/office/drawing/2014/main" id="{28569B48-3CBC-4E67-8F4C-8DE5AF659169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8288899" y="258318"/>
            <a:ext cx="595440" cy="370757"/>
            <a:chOff x="248864" y="1309239"/>
            <a:chExt cx="1116830" cy="695406"/>
          </a:xfrm>
        </p:grpSpPr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75118976-F83B-4161-8DA3-9BD54B2A61B3}"/>
                </a:ext>
              </a:extLst>
            </p:cNvPr>
            <p:cNvSpPr/>
            <p:nvPr/>
          </p:nvSpPr>
          <p:spPr bwMode="gray">
            <a:xfrm>
              <a:off x="653702" y="1382595"/>
              <a:ext cx="314326" cy="552451"/>
            </a:xfrm>
            <a:custGeom>
              <a:avLst/>
              <a:gdLst>
                <a:gd name="connsiteX0" fmla="*/ 7144 w 314325"/>
                <a:gd name="connsiteY0" fmla="*/ 7144 h 552450"/>
                <a:gd name="connsiteX1" fmla="*/ 307181 w 314325"/>
                <a:gd name="connsiteY1" fmla="*/ 7144 h 552450"/>
                <a:gd name="connsiteX2" fmla="*/ 307181 w 314325"/>
                <a:gd name="connsiteY2" fmla="*/ 546354 h 552450"/>
                <a:gd name="connsiteX3" fmla="*/ 7144 w 314325"/>
                <a:gd name="connsiteY3" fmla="*/ 546354 h 552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14325" h="552450">
                  <a:moveTo>
                    <a:pt x="7144" y="7144"/>
                  </a:moveTo>
                  <a:lnTo>
                    <a:pt x="307181" y="7144"/>
                  </a:lnTo>
                  <a:lnTo>
                    <a:pt x="307181" y="546354"/>
                  </a:lnTo>
                  <a:lnTo>
                    <a:pt x="7144" y="546354"/>
                  </a:lnTo>
                  <a:close/>
                </a:path>
              </a:pathLst>
            </a:custGeom>
            <a:solidFill>
              <a:srgbClr val="FF5F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/>
              <a:endParaRPr lang="en-US"/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EF533C0F-710F-43B4-AB60-15799585F936}"/>
                </a:ext>
              </a:extLst>
            </p:cNvPr>
            <p:cNvSpPr/>
            <p:nvPr/>
          </p:nvSpPr>
          <p:spPr bwMode="gray">
            <a:xfrm>
              <a:off x="248864" y="1309239"/>
              <a:ext cx="561975" cy="695324"/>
            </a:xfrm>
            <a:custGeom>
              <a:avLst/>
              <a:gdLst>
                <a:gd name="connsiteX0" fmla="*/ 431031 w 561975"/>
                <a:gd name="connsiteY0" fmla="*/ 350058 h 695325"/>
                <a:gd name="connsiteX1" fmla="*/ 562000 w 561975"/>
                <a:gd name="connsiteY1" fmla="*/ 80501 h 695325"/>
                <a:gd name="connsiteX2" fmla="*/ 80501 w 561975"/>
                <a:gd name="connsiteY2" fmla="*/ 138117 h 695325"/>
                <a:gd name="connsiteX3" fmla="*/ 138117 w 561975"/>
                <a:gd name="connsiteY3" fmla="*/ 619616 h 695325"/>
                <a:gd name="connsiteX4" fmla="*/ 562000 w 561975"/>
                <a:gd name="connsiteY4" fmla="*/ 619616 h 695325"/>
                <a:gd name="connsiteX5" fmla="*/ 431031 w 561975"/>
                <a:gd name="connsiteY5" fmla="*/ 350058 h 6953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61975" h="695325">
                  <a:moveTo>
                    <a:pt x="431031" y="350058"/>
                  </a:moveTo>
                  <a:cubicBezTo>
                    <a:pt x="430905" y="244845"/>
                    <a:pt x="479209" y="145428"/>
                    <a:pt x="562000" y="80501"/>
                  </a:cubicBezTo>
                  <a:cubicBezTo>
                    <a:pt x="413127" y="-36551"/>
                    <a:pt x="197553" y="-10756"/>
                    <a:pt x="80501" y="138117"/>
                  </a:cubicBezTo>
                  <a:cubicBezTo>
                    <a:pt x="-36551" y="286989"/>
                    <a:pt x="-10756" y="502564"/>
                    <a:pt x="138117" y="619616"/>
                  </a:cubicBezTo>
                  <a:cubicBezTo>
                    <a:pt x="262491" y="717406"/>
                    <a:pt x="437626" y="717406"/>
                    <a:pt x="562000" y="619616"/>
                  </a:cubicBezTo>
                  <a:cubicBezTo>
                    <a:pt x="479209" y="554688"/>
                    <a:pt x="430905" y="455272"/>
                    <a:pt x="431031" y="350058"/>
                  </a:cubicBezTo>
                  <a:close/>
                </a:path>
              </a:pathLst>
            </a:custGeom>
            <a:solidFill>
              <a:srgbClr val="EB001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/>
              <a:endParaRPr lang="en-US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175A42B5-E23A-4E96-ABCD-201030ED05A6}"/>
                </a:ext>
              </a:extLst>
            </p:cNvPr>
            <p:cNvSpPr/>
            <p:nvPr/>
          </p:nvSpPr>
          <p:spPr bwMode="gray">
            <a:xfrm>
              <a:off x="803719" y="1309321"/>
              <a:ext cx="561975" cy="695324"/>
            </a:xfrm>
            <a:custGeom>
              <a:avLst/>
              <a:gdLst>
                <a:gd name="connsiteX0" fmla="*/ 561880 w 561975"/>
                <a:gd name="connsiteY0" fmla="*/ 349975 h 695325"/>
                <a:gd name="connsiteX1" fmla="*/ 218897 w 561975"/>
                <a:gd name="connsiteY1" fmla="*/ 692793 h 695325"/>
                <a:gd name="connsiteX2" fmla="*/ 7144 w 561975"/>
                <a:gd name="connsiteY2" fmla="*/ 619533 h 695325"/>
                <a:gd name="connsiteX3" fmla="*/ 64760 w 561975"/>
                <a:gd name="connsiteY3" fmla="*/ 138034 h 695325"/>
                <a:gd name="connsiteX4" fmla="*/ 7144 w 561975"/>
                <a:gd name="connsiteY4" fmla="*/ 80418 h 695325"/>
                <a:gd name="connsiteX5" fmla="*/ 488620 w 561975"/>
                <a:gd name="connsiteY5" fmla="*/ 138222 h 695325"/>
                <a:gd name="connsiteX6" fmla="*/ 561880 w 561975"/>
                <a:gd name="connsiteY6" fmla="*/ 349975 h 695325"/>
                <a:gd name="connsiteX7" fmla="*/ 529209 w 561975"/>
                <a:gd name="connsiteY7" fmla="*/ 562478 h 695325"/>
                <a:gd name="connsiteX8" fmla="*/ 529209 w 561975"/>
                <a:gd name="connsiteY8" fmla="*/ 551429 h 695325"/>
                <a:gd name="connsiteX9" fmla="*/ 533686 w 561975"/>
                <a:gd name="connsiteY9" fmla="*/ 551429 h 695325"/>
                <a:gd name="connsiteX10" fmla="*/ 533686 w 561975"/>
                <a:gd name="connsiteY10" fmla="*/ 549143 h 695325"/>
                <a:gd name="connsiteX11" fmla="*/ 522446 w 561975"/>
                <a:gd name="connsiteY11" fmla="*/ 549143 h 695325"/>
                <a:gd name="connsiteX12" fmla="*/ 522446 w 561975"/>
                <a:gd name="connsiteY12" fmla="*/ 551429 h 695325"/>
                <a:gd name="connsiteX13" fmla="*/ 526828 w 561975"/>
                <a:gd name="connsiteY13" fmla="*/ 551429 h 695325"/>
                <a:gd name="connsiteX14" fmla="*/ 526828 w 561975"/>
                <a:gd name="connsiteY14" fmla="*/ 562478 h 695325"/>
                <a:gd name="connsiteX15" fmla="*/ 551212 w 561975"/>
                <a:gd name="connsiteY15" fmla="*/ 562478 h 695325"/>
                <a:gd name="connsiteX16" fmla="*/ 551212 w 561975"/>
                <a:gd name="connsiteY16" fmla="*/ 549143 h 695325"/>
                <a:gd name="connsiteX17" fmla="*/ 547687 w 561975"/>
                <a:gd name="connsiteY17" fmla="*/ 549143 h 695325"/>
                <a:gd name="connsiteX18" fmla="*/ 543687 w 561975"/>
                <a:gd name="connsiteY18" fmla="*/ 558668 h 695325"/>
                <a:gd name="connsiteX19" fmla="*/ 539686 w 561975"/>
                <a:gd name="connsiteY19" fmla="*/ 549143 h 695325"/>
                <a:gd name="connsiteX20" fmla="*/ 536258 w 561975"/>
                <a:gd name="connsiteY20" fmla="*/ 549143 h 695325"/>
                <a:gd name="connsiteX21" fmla="*/ 536258 w 561975"/>
                <a:gd name="connsiteY21" fmla="*/ 562478 h 695325"/>
                <a:gd name="connsiteX22" fmla="*/ 538734 w 561975"/>
                <a:gd name="connsiteY22" fmla="*/ 562478 h 695325"/>
                <a:gd name="connsiteX23" fmla="*/ 538734 w 561975"/>
                <a:gd name="connsiteY23" fmla="*/ 552382 h 695325"/>
                <a:gd name="connsiteX24" fmla="*/ 542449 w 561975"/>
                <a:gd name="connsiteY24" fmla="*/ 561049 h 695325"/>
                <a:gd name="connsiteX25" fmla="*/ 545020 w 561975"/>
                <a:gd name="connsiteY25" fmla="*/ 561049 h 695325"/>
                <a:gd name="connsiteX26" fmla="*/ 548735 w 561975"/>
                <a:gd name="connsiteY26" fmla="*/ 552382 h 695325"/>
                <a:gd name="connsiteX27" fmla="*/ 548735 w 561975"/>
                <a:gd name="connsiteY27" fmla="*/ 562478 h 6953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561975" h="695325">
                  <a:moveTo>
                    <a:pt x="561880" y="349975"/>
                  </a:moveTo>
                  <a:cubicBezTo>
                    <a:pt x="561834" y="539354"/>
                    <a:pt x="408276" y="692838"/>
                    <a:pt x="218897" y="692793"/>
                  </a:cubicBezTo>
                  <a:cubicBezTo>
                    <a:pt x="142100" y="692774"/>
                    <a:pt x="67533" y="666976"/>
                    <a:pt x="7144" y="619533"/>
                  </a:cubicBezTo>
                  <a:cubicBezTo>
                    <a:pt x="156016" y="502481"/>
                    <a:pt x="181812" y="286906"/>
                    <a:pt x="64760" y="138034"/>
                  </a:cubicBezTo>
                  <a:cubicBezTo>
                    <a:pt x="47913" y="116607"/>
                    <a:pt x="28571" y="97265"/>
                    <a:pt x="7144" y="80418"/>
                  </a:cubicBezTo>
                  <a:cubicBezTo>
                    <a:pt x="156062" y="-36576"/>
                    <a:pt x="371626" y="-10696"/>
                    <a:pt x="488620" y="138222"/>
                  </a:cubicBezTo>
                  <a:cubicBezTo>
                    <a:pt x="536063" y="198612"/>
                    <a:pt x="561861" y="273179"/>
                    <a:pt x="561880" y="349975"/>
                  </a:cubicBezTo>
                  <a:close/>
                  <a:moveTo>
                    <a:pt x="529209" y="562478"/>
                  </a:moveTo>
                  <a:lnTo>
                    <a:pt x="529209" y="551429"/>
                  </a:lnTo>
                  <a:lnTo>
                    <a:pt x="533686" y="551429"/>
                  </a:lnTo>
                  <a:lnTo>
                    <a:pt x="533686" y="549143"/>
                  </a:lnTo>
                  <a:lnTo>
                    <a:pt x="522446" y="549143"/>
                  </a:lnTo>
                  <a:lnTo>
                    <a:pt x="522446" y="551429"/>
                  </a:lnTo>
                  <a:lnTo>
                    <a:pt x="526828" y="551429"/>
                  </a:lnTo>
                  <a:lnTo>
                    <a:pt x="526828" y="562478"/>
                  </a:lnTo>
                  <a:close/>
                  <a:moveTo>
                    <a:pt x="551212" y="562478"/>
                  </a:moveTo>
                  <a:lnTo>
                    <a:pt x="551212" y="549143"/>
                  </a:lnTo>
                  <a:lnTo>
                    <a:pt x="547687" y="549143"/>
                  </a:lnTo>
                  <a:lnTo>
                    <a:pt x="543687" y="558668"/>
                  </a:lnTo>
                  <a:lnTo>
                    <a:pt x="539686" y="549143"/>
                  </a:lnTo>
                  <a:lnTo>
                    <a:pt x="536258" y="549143"/>
                  </a:lnTo>
                  <a:lnTo>
                    <a:pt x="536258" y="562478"/>
                  </a:lnTo>
                  <a:lnTo>
                    <a:pt x="538734" y="562478"/>
                  </a:lnTo>
                  <a:lnTo>
                    <a:pt x="538734" y="552382"/>
                  </a:lnTo>
                  <a:lnTo>
                    <a:pt x="542449" y="561049"/>
                  </a:lnTo>
                  <a:lnTo>
                    <a:pt x="545020" y="561049"/>
                  </a:lnTo>
                  <a:lnTo>
                    <a:pt x="548735" y="552382"/>
                  </a:lnTo>
                  <a:lnTo>
                    <a:pt x="548735" y="562478"/>
                  </a:lnTo>
                  <a:close/>
                </a:path>
              </a:pathLst>
            </a:custGeom>
            <a:solidFill>
              <a:srgbClr val="F79E1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488898450"/>
      </p:ext>
    </p:extLst>
  </p:cSld>
  <p:clrMapOvr>
    <a:masterClrMapping/>
  </p:clrMapOvr>
  <p:hf hd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(long)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lide Number Placeholder 5"/>
          <p:cNvSpPr>
            <a:spLocks noGrp="1"/>
          </p:cNvSpPr>
          <p:nvPr>
            <p:ph type="sldNum" sz="quarter" idx="17"/>
          </p:nvPr>
        </p:nvSpPr>
        <p:spPr bwMode="gray"/>
        <p:txBody>
          <a:bodyPr/>
          <a:lstStyle/>
          <a:p>
            <a:fld id="{3AB2DB24-5BB4-4F1B-973E-A10FA63DFB9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16"/>
          </p:nvPr>
        </p:nvSpPr>
        <p:spPr bwMode="gray"/>
        <p:txBody>
          <a:bodyPr/>
          <a:lstStyle/>
          <a:p>
            <a:r>
              <a:rPr lang="en-US"/>
              <a:t>Payment Innovation</a:t>
            </a:r>
            <a:endParaRPr lang="en-US" dirty="0"/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15"/>
          </p:nvPr>
        </p:nvSpPr>
        <p:spPr bwMode="gray"/>
        <p:txBody>
          <a:bodyPr/>
          <a:lstStyle/>
          <a:p>
            <a:r>
              <a:rPr lang="en-US"/>
              <a:t>October 31, 2023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4"/>
          </p:nvPr>
        </p:nvSpPr>
        <p:spPr bwMode="gray">
          <a:xfrm>
            <a:off x="3119438" y="727556"/>
            <a:ext cx="5458009" cy="358756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2" name="Subtitle 2"/>
          <p:cNvSpPr>
            <a:spLocks noGrp="1"/>
          </p:cNvSpPr>
          <p:nvPr>
            <p:ph type="body" idx="13" hasCustomPrompt="1"/>
          </p:nvPr>
        </p:nvSpPr>
        <p:spPr bwMode="gray">
          <a:xfrm>
            <a:off x="164592" y="727556"/>
            <a:ext cx="2725896" cy="717196"/>
          </a:xfrm>
        </p:spPr>
        <p:txBody>
          <a:bodyPr rIns="0" anchor="t" anchorCtr="0"/>
          <a:lstStyle>
            <a:lvl1pPr marL="0" indent="0">
              <a:buNone/>
              <a:defRPr sz="1400" b="0">
                <a:latin typeface="Mark Offc For MC" panose="020B0504020101010102" pitchFamily="34" charset="0"/>
              </a:defRPr>
            </a:lvl1pPr>
            <a:lvl2pPr marL="342891" indent="0">
              <a:buNone/>
              <a:defRPr sz="1500" b="1"/>
            </a:lvl2pPr>
            <a:lvl3pPr marL="685783" indent="0">
              <a:buNone/>
              <a:defRPr sz="1351" b="1"/>
            </a:lvl3pPr>
            <a:lvl4pPr marL="1028674" indent="0">
              <a:buNone/>
              <a:defRPr sz="1200" b="1"/>
            </a:lvl4pPr>
            <a:lvl5pPr marL="1371566" indent="0">
              <a:buNone/>
              <a:defRPr sz="1200" b="1"/>
            </a:lvl5pPr>
            <a:lvl6pPr marL="1714457" indent="0">
              <a:buNone/>
              <a:defRPr sz="1200" b="1"/>
            </a:lvl6pPr>
            <a:lvl7pPr marL="2057349" indent="0">
              <a:buNone/>
              <a:defRPr sz="1200" b="1"/>
            </a:lvl7pPr>
            <a:lvl8pPr marL="2400240" indent="0">
              <a:buNone/>
              <a:defRPr sz="1200" b="1"/>
            </a:lvl8pPr>
            <a:lvl9pPr marL="2743131" indent="0">
              <a:buNone/>
              <a:defRPr sz="1200" b="1"/>
            </a:lvl9pPr>
          </a:lstStyle>
          <a:p>
            <a:pPr lvl="0"/>
            <a:r>
              <a:rPr lang="en-US" dirty="0"/>
              <a:t>Click to add subtitle or secondary text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 bwMode="gray">
          <a:xfrm>
            <a:off x="164594" y="192025"/>
            <a:ext cx="8412854" cy="31089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88869923"/>
      </p:ext>
    </p:extLst>
  </p:cSld>
  <p:clrMapOvr>
    <a:masterClrMapping/>
  </p:clrMapOvr>
  <p:hf hdr="0" dt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lide Number Placeholder 5"/>
          <p:cNvSpPr>
            <a:spLocks noGrp="1"/>
          </p:cNvSpPr>
          <p:nvPr>
            <p:ph type="sldNum" sz="quarter" idx="17"/>
          </p:nvPr>
        </p:nvSpPr>
        <p:spPr bwMode="gray"/>
        <p:txBody>
          <a:bodyPr/>
          <a:lstStyle/>
          <a:p>
            <a:fld id="{3AB2DB24-5BB4-4F1B-973E-A10FA63DFB9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16"/>
          </p:nvPr>
        </p:nvSpPr>
        <p:spPr bwMode="gray"/>
        <p:txBody>
          <a:bodyPr/>
          <a:lstStyle/>
          <a:p>
            <a:r>
              <a:rPr lang="en-US"/>
              <a:t>Payment Innovation</a:t>
            </a:r>
            <a:endParaRPr lang="en-US" dirty="0"/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15"/>
          </p:nvPr>
        </p:nvSpPr>
        <p:spPr bwMode="gray"/>
        <p:txBody>
          <a:bodyPr/>
          <a:lstStyle/>
          <a:p>
            <a:r>
              <a:rPr lang="en-US"/>
              <a:t>October 31, 2023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4"/>
          </p:nvPr>
        </p:nvSpPr>
        <p:spPr bwMode="gray">
          <a:xfrm>
            <a:off x="3119438" y="192088"/>
            <a:ext cx="5458009" cy="412574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2" name="Subtitle 2"/>
          <p:cNvSpPr>
            <a:spLocks noGrp="1"/>
          </p:cNvSpPr>
          <p:nvPr>
            <p:ph type="body" idx="13" hasCustomPrompt="1"/>
          </p:nvPr>
        </p:nvSpPr>
        <p:spPr bwMode="gray">
          <a:xfrm>
            <a:off x="164592" y="1042416"/>
            <a:ext cx="2725896" cy="617934"/>
          </a:xfrm>
        </p:spPr>
        <p:txBody>
          <a:bodyPr rIns="0" anchor="t" anchorCtr="0"/>
          <a:lstStyle>
            <a:lvl1pPr marL="0" indent="0">
              <a:buNone/>
              <a:defRPr sz="1400" b="0">
                <a:latin typeface="Mark Offc For MC" panose="020B0504020101010102" pitchFamily="34" charset="0"/>
              </a:defRPr>
            </a:lvl1pPr>
            <a:lvl2pPr marL="342891" indent="0">
              <a:buNone/>
              <a:defRPr sz="1500" b="1"/>
            </a:lvl2pPr>
            <a:lvl3pPr marL="685783" indent="0">
              <a:buNone/>
              <a:defRPr sz="1351" b="1"/>
            </a:lvl3pPr>
            <a:lvl4pPr marL="1028674" indent="0">
              <a:buNone/>
              <a:defRPr sz="1200" b="1"/>
            </a:lvl4pPr>
            <a:lvl5pPr marL="1371566" indent="0">
              <a:buNone/>
              <a:defRPr sz="1200" b="1"/>
            </a:lvl5pPr>
            <a:lvl6pPr marL="1714457" indent="0">
              <a:buNone/>
              <a:defRPr sz="1200" b="1"/>
            </a:lvl6pPr>
            <a:lvl7pPr marL="2057349" indent="0">
              <a:buNone/>
              <a:defRPr sz="1200" b="1"/>
            </a:lvl7pPr>
            <a:lvl8pPr marL="2400240" indent="0">
              <a:buNone/>
              <a:defRPr sz="1200" b="1"/>
            </a:lvl8pPr>
            <a:lvl9pPr marL="2743131" indent="0">
              <a:buNone/>
              <a:defRPr sz="1200" b="1"/>
            </a:lvl9pPr>
          </a:lstStyle>
          <a:p>
            <a:pPr lvl="0"/>
            <a:r>
              <a:rPr lang="en-US" dirty="0"/>
              <a:t>Click to add subtitle or secondary text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87705338"/>
      </p:ext>
    </p:extLst>
  </p:cSld>
  <p:clrMapOvr>
    <a:masterClrMapping/>
  </p:clrMapOvr>
  <p:hf hdr="0" dt="0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and Content (no bullet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lide Number Placeholder 5"/>
          <p:cNvSpPr>
            <a:spLocks noGrp="1"/>
          </p:cNvSpPr>
          <p:nvPr>
            <p:ph type="sldNum" sz="quarter" idx="17"/>
          </p:nvPr>
        </p:nvSpPr>
        <p:spPr bwMode="gray"/>
        <p:txBody>
          <a:bodyPr/>
          <a:lstStyle/>
          <a:p>
            <a:fld id="{3AB2DB24-5BB4-4F1B-973E-A10FA63DFB9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16"/>
          </p:nvPr>
        </p:nvSpPr>
        <p:spPr bwMode="gray"/>
        <p:txBody>
          <a:bodyPr/>
          <a:lstStyle/>
          <a:p>
            <a:r>
              <a:rPr lang="en-US"/>
              <a:t>Payment Innovation</a:t>
            </a:r>
            <a:endParaRPr lang="en-US" dirty="0"/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15"/>
          </p:nvPr>
        </p:nvSpPr>
        <p:spPr bwMode="gray"/>
        <p:txBody>
          <a:bodyPr/>
          <a:lstStyle/>
          <a:p>
            <a:r>
              <a:rPr lang="en-US"/>
              <a:t>October 31, 2023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4"/>
          </p:nvPr>
        </p:nvSpPr>
        <p:spPr bwMode="gray">
          <a:xfrm>
            <a:off x="3119438" y="192088"/>
            <a:ext cx="5458009" cy="4125742"/>
          </a:xfrm>
        </p:spPr>
        <p:txBody>
          <a:bodyPr/>
          <a:lstStyle>
            <a:lvl1pPr marL="0" indent="0">
              <a:buNone/>
              <a:defRPr/>
            </a:lvl1pPr>
            <a:lvl2pPr marL="147634" indent="0">
              <a:buNone/>
              <a:defRPr/>
            </a:lvl2pPr>
            <a:lvl3pPr marL="287330" indent="0">
              <a:buNone/>
              <a:defRPr/>
            </a:lvl3pPr>
            <a:lvl4pPr marL="434964" indent="0">
              <a:buNone/>
              <a:defRPr/>
            </a:lvl4pPr>
            <a:lvl5pPr marL="568311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Subtitle 2"/>
          <p:cNvSpPr>
            <a:spLocks noGrp="1"/>
          </p:cNvSpPr>
          <p:nvPr>
            <p:ph type="body" idx="13" hasCustomPrompt="1"/>
          </p:nvPr>
        </p:nvSpPr>
        <p:spPr bwMode="gray">
          <a:xfrm>
            <a:off x="164592" y="1042416"/>
            <a:ext cx="2725896" cy="617934"/>
          </a:xfrm>
        </p:spPr>
        <p:txBody>
          <a:bodyPr rIns="0" anchor="t" anchorCtr="0"/>
          <a:lstStyle>
            <a:lvl1pPr marL="0" indent="0">
              <a:buNone/>
              <a:defRPr sz="1400" b="0">
                <a:latin typeface="Mark Offc For MC" panose="020B0504020101010102" pitchFamily="34" charset="0"/>
              </a:defRPr>
            </a:lvl1pPr>
            <a:lvl2pPr marL="342891" indent="0">
              <a:buNone/>
              <a:defRPr sz="1500" b="1"/>
            </a:lvl2pPr>
            <a:lvl3pPr marL="685783" indent="0">
              <a:buNone/>
              <a:defRPr sz="1351" b="1"/>
            </a:lvl3pPr>
            <a:lvl4pPr marL="1028674" indent="0">
              <a:buNone/>
              <a:defRPr sz="1200" b="1"/>
            </a:lvl4pPr>
            <a:lvl5pPr marL="1371566" indent="0">
              <a:buNone/>
              <a:defRPr sz="1200" b="1"/>
            </a:lvl5pPr>
            <a:lvl6pPr marL="1714457" indent="0">
              <a:buNone/>
              <a:defRPr sz="1200" b="1"/>
            </a:lvl6pPr>
            <a:lvl7pPr marL="2057349" indent="0">
              <a:buNone/>
              <a:defRPr sz="1200" b="1"/>
            </a:lvl7pPr>
            <a:lvl8pPr marL="2400240" indent="0">
              <a:buNone/>
              <a:defRPr sz="1200" b="1"/>
            </a:lvl8pPr>
            <a:lvl9pPr marL="2743131" indent="0">
              <a:buNone/>
              <a:defRPr sz="1200" b="1"/>
            </a:lvl9pPr>
          </a:lstStyle>
          <a:p>
            <a:pPr lvl="0"/>
            <a:r>
              <a:rPr lang="en-US" dirty="0"/>
              <a:t>Click to add subtitle or secondary text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56448622"/>
      </p:ext>
    </p:extLst>
  </p:cSld>
  <p:clrMapOvr>
    <a:masterClrMapping/>
  </p:clrMapOvr>
  <p:hf hdr="0" dt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mparison (long titl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lide Number Placeholder 5"/>
          <p:cNvSpPr>
            <a:spLocks noGrp="1"/>
          </p:cNvSpPr>
          <p:nvPr>
            <p:ph type="sldNum" sz="quarter" idx="17"/>
          </p:nvPr>
        </p:nvSpPr>
        <p:spPr bwMode="gray"/>
        <p:txBody>
          <a:bodyPr/>
          <a:lstStyle/>
          <a:p>
            <a:fld id="{3AB2DB24-5BB4-4F1B-973E-A10FA63DFB9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16"/>
          </p:nvPr>
        </p:nvSpPr>
        <p:spPr bwMode="gray"/>
        <p:txBody>
          <a:bodyPr/>
          <a:lstStyle/>
          <a:p>
            <a:r>
              <a:rPr lang="en-US"/>
              <a:t>Payment Innovation</a:t>
            </a:r>
            <a:endParaRPr lang="en-US" dirty="0"/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15"/>
          </p:nvPr>
        </p:nvSpPr>
        <p:spPr bwMode="gray"/>
        <p:txBody>
          <a:bodyPr/>
          <a:lstStyle/>
          <a:p>
            <a:r>
              <a:rPr lang="en-US"/>
              <a:t>October 31, 2023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4"/>
          </p:nvPr>
        </p:nvSpPr>
        <p:spPr bwMode="gray">
          <a:xfrm>
            <a:off x="164593" y="727513"/>
            <a:ext cx="3897622" cy="359535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 bwMode="gray">
          <a:xfrm>
            <a:off x="164594" y="192025"/>
            <a:ext cx="8412854" cy="31089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8"/>
          </p:nvPr>
        </p:nvSpPr>
        <p:spPr bwMode="gray">
          <a:xfrm>
            <a:off x="4679824" y="727555"/>
            <a:ext cx="3897623" cy="359378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04462167"/>
      </p:ext>
    </p:extLst>
  </p:cSld>
  <p:clrMapOvr>
    <a:masterClrMapping/>
  </p:clrMapOvr>
  <p:hf hdr="0" dt="0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lide Number Placeholder 5"/>
          <p:cNvSpPr>
            <a:spLocks noGrp="1"/>
          </p:cNvSpPr>
          <p:nvPr>
            <p:ph type="sldNum" sz="quarter" idx="17"/>
          </p:nvPr>
        </p:nvSpPr>
        <p:spPr bwMode="gray"/>
        <p:txBody>
          <a:bodyPr/>
          <a:lstStyle/>
          <a:p>
            <a:fld id="{3AB2DB24-5BB4-4F1B-973E-A10FA63DFB9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16"/>
          </p:nvPr>
        </p:nvSpPr>
        <p:spPr bwMode="gray"/>
        <p:txBody>
          <a:bodyPr/>
          <a:lstStyle/>
          <a:p>
            <a:r>
              <a:rPr lang="en-US"/>
              <a:t>Payment Innovation</a:t>
            </a:r>
            <a:endParaRPr lang="en-US" dirty="0"/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15"/>
          </p:nvPr>
        </p:nvSpPr>
        <p:spPr bwMode="gray"/>
        <p:txBody>
          <a:bodyPr/>
          <a:lstStyle/>
          <a:p>
            <a:r>
              <a:rPr lang="en-US"/>
              <a:t>October 31, 2023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4"/>
          </p:nvPr>
        </p:nvSpPr>
        <p:spPr bwMode="gray">
          <a:xfrm>
            <a:off x="3119438" y="192023"/>
            <a:ext cx="2642070" cy="412932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8"/>
          </p:nvPr>
        </p:nvSpPr>
        <p:spPr bwMode="gray">
          <a:xfrm>
            <a:off x="5935377" y="192023"/>
            <a:ext cx="2642070" cy="412932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503403706"/>
      </p:ext>
    </p:extLst>
  </p:cSld>
  <p:clrMapOvr>
    <a:masterClrMapping/>
  </p:clrMapOvr>
  <p:hf hdr="0" dt="0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mparison (long title) with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lide Number Placeholder 5"/>
          <p:cNvSpPr>
            <a:spLocks noGrp="1"/>
          </p:cNvSpPr>
          <p:nvPr>
            <p:ph type="sldNum" sz="quarter" idx="17"/>
          </p:nvPr>
        </p:nvSpPr>
        <p:spPr bwMode="gray"/>
        <p:txBody>
          <a:bodyPr/>
          <a:lstStyle/>
          <a:p>
            <a:fld id="{3AB2DB24-5BB4-4F1B-973E-A10FA63DFB9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16"/>
          </p:nvPr>
        </p:nvSpPr>
        <p:spPr bwMode="gray"/>
        <p:txBody>
          <a:bodyPr/>
          <a:lstStyle/>
          <a:p>
            <a:r>
              <a:rPr lang="en-US"/>
              <a:t>Payment Innovation</a:t>
            </a:r>
            <a:endParaRPr lang="en-US" dirty="0"/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15"/>
          </p:nvPr>
        </p:nvSpPr>
        <p:spPr bwMode="gray"/>
        <p:txBody>
          <a:bodyPr/>
          <a:lstStyle/>
          <a:p>
            <a:r>
              <a:rPr lang="en-US"/>
              <a:t>October 31, 2023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4"/>
          </p:nvPr>
        </p:nvSpPr>
        <p:spPr bwMode="gray">
          <a:xfrm>
            <a:off x="3119438" y="727555"/>
            <a:ext cx="2642616" cy="359378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2" name="Subtitle 2"/>
          <p:cNvSpPr>
            <a:spLocks noGrp="1"/>
          </p:cNvSpPr>
          <p:nvPr>
            <p:ph type="body" idx="13" hasCustomPrompt="1"/>
          </p:nvPr>
        </p:nvSpPr>
        <p:spPr bwMode="gray">
          <a:xfrm>
            <a:off x="164592" y="727556"/>
            <a:ext cx="2725896" cy="617934"/>
          </a:xfrm>
        </p:spPr>
        <p:txBody>
          <a:bodyPr rIns="0" anchor="t" anchorCtr="0"/>
          <a:lstStyle>
            <a:lvl1pPr marL="0" indent="0">
              <a:buNone/>
              <a:defRPr sz="1400" b="0">
                <a:latin typeface="Mark Offc For MC" panose="020B0504020101010102" pitchFamily="34" charset="0"/>
              </a:defRPr>
            </a:lvl1pPr>
            <a:lvl2pPr marL="342891" indent="0">
              <a:buNone/>
              <a:defRPr sz="1500" b="1"/>
            </a:lvl2pPr>
            <a:lvl3pPr marL="685783" indent="0">
              <a:buNone/>
              <a:defRPr sz="1351" b="1"/>
            </a:lvl3pPr>
            <a:lvl4pPr marL="1028674" indent="0">
              <a:buNone/>
              <a:defRPr sz="1200" b="1"/>
            </a:lvl4pPr>
            <a:lvl5pPr marL="1371566" indent="0">
              <a:buNone/>
              <a:defRPr sz="1200" b="1"/>
            </a:lvl5pPr>
            <a:lvl6pPr marL="1714457" indent="0">
              <a:buNone/>
              <a:defRPr sz="1200" b="1"/>
            </a:lvl6pPr>
            <a:lvl7pPr marL="2057349" indent="0">
              <a:buNone/>
              <a:defRPr sz="1200" b="1"/>
            </a:lvl7pPr>
            <a:lvl8pPr marL="2400240" indent="0">
              <a:buNone/>
              <a:defRPr sz="1200" b="1"/>
            </a:lvl8pPr>
            <a:lvl9pPr marL="2743131" indent="0">
              <a:buNone/>
              <a:defRPr sz="1200" b="1"/>
            </a:lvl9pPr>
          </a:lstStyle>
          <a:p>
            <a:pPr lvl="0"/>
            <a:r>
              <a:rPr lang="en-US" dirty="0"/>
              <a:t>Click to add subtitle or secondary text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 bwMode="gray">
          <a:xfrm>
            <a:off x="164594" y="192025"/>
            <a:ext cx="8412854" cy="31089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8"/>
          </p:nvPr>
        </p:nvSpPr>
        <p:spPr bwMode="gray">
          <a:xfrm>
            <a:off x="5934831" y="727555"/>
            <a:ext cx="2642616" cy="359378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32269328"/>
      </p:ext>
    </p:extLst>
  </p:cSld>
  <p:clrMapOvr>
    <a:masterClrMapping/>
  </p:clrMapOvr>
  <p:hf hdr="0" dt="0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mparison with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lide Number Placeholder 5"/>
          <p:cNvSpPr>
            <a:spLocks noGrp="1"/>
          </p:cNvSpPr>
          <p:nvPr>
            <p:ph type="sldNum" sz="quarter" idx="17"/>
          </p:nvPr>
        </p:nvSpPr>
        <p:spPr bwMode="gray"/>
        <p:txBody>
          <a:bodyPr/>
          <a:lstStyle/>
          <a:p>
            <a:fld id="{3AB2DB24-5BB4-4F1B-973E-A10FA63DFB9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16"/>
          </p:nvPr>
        </p:nvSpPr>
        <p:spPr bwMode="gray"/>
        <p:txBody>
          <a:bodyPr/>
          <a:lstStyle/>
          <a:p>
            <a:r>
              <a:rPr lang="en-US"/>
              <a:t>Payment Innovation</a:t>
            </a:r>
            <a:endParaRPr lang="en-US" dirty="0"/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15"/>
          </p:nvPr>
        </p:nvSpPr>
        <p:spPr bwMode="gray"/>
        <p:txBody>
          <a:bodyPr/>
          <a:lstStyle/>
          <a:p>
            <a:r>
              <a:rPr lang="en-US"/>
              <a:t>October 31, 2023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4"/>
          </p:nvPr>
        </p:nvSpPr>
        <p:spPr bwMode="gray">
          <a:xfrm>
            <a:off x="3119438" y="192087"/>
            <a:ext cx="2642616" cy="412925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2" name="Subtitle 2"/>
          <p:cNvSpPr>
            <a:spLocks noGrp="1"/>
          </p:cNvSpPr>
          <p:nvPr>
            <p:ph type="body" idx="13" hasCustomPrompt="1"/>
          </p:nvPr>
        </p:nvSpPr>
        <p:spPr bwMode="gray">
          <a:xfrm>
            <a:off x="164592" y="1042416"/>
            <a:ext cx="2725896" cy="617934"/>
          </a:xfrm>
        </p:spPr>
        <p:txBody>
          <a:bodyPr rIns="0" anchor="t" anchorCtr="0"/>
          <a:lstStyle>
            <a:lvl1pPr marL="0" indent="0">
              <a:buNone/>
              <a:defRPr sz="1400" b="0">
                <a:latin typeface="Mark Offc For MC" panose="020B0504020101010102" pitchFamily="34" charset="0"/>
              </a:defRPr>
            </a:lvl1pPr>
            <a:lvl2pPr marL="342891" indent="0">
              <a:buNone/>
              <a:defRPr sz="1500" b="1"/>
            </a:lvl2pPr>
            <a:lvl3pPr marL="685783" indent="0">
              <a:buNone/>
              <a:defRPr sz="1351" b="1"/>
            </a:lvl3pPr>
            <a:lvl4pPr marL="1028674" indent="0">
              <a:buNone/>
              <a:defRPr sz="1200" b="1"/>
            </a:lvl4pPr>
            <a:lvl5pPr marL="1371566" indent="0">
              <a:buNone/>
              <a:defRPr sz="1200" b="1"/>
            </a:lvl5pPr>
            <a:lvl6pPr marL="1714457" indent="0">
              <a:buNone/>
              <a:defRPr sz="1200" b="1"/>
            </a:lvl6pPr>
            <a:lvl7pPr marL="2057349" indent="0">
              <a:buNone/>
              <a:defRPr sz="1200" b="1"/>
            </a:lvl7pPr>
            <a:lvl8pPr marL="2400240" indent="0">
              <a:buNone/>
              <a:defRPr sz="1200" b="1"/>
            </a:lvl8pPr>
            <a:lvl9pPr marL="2743131" indent="0">
              <a:buNone/>
              <a:defRPr sz="1200" b="1"/>
            </a:lvl9pPr>
          </a:lstStyle>
          <a:p>
            <a:pPr lvl="0"/>
            <a:r>
              <a:rPr lang="en-US" dirty="0"/>
              <a:t>Click to add subtitle or secondary text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8"/>
          </p:nvPr>
        </p:nvSpPr>
        <p:spPr bwMode="gray">
          <a:xfrm>
            <a:off x="5934831" y="192087"/>
            <a:ext cx="2642616" cy="412925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22388228"/>
      </p:ext>
    </p:extLst>
  </p:cSld>
  <p:clrMapOvr>
    <a:masterClrMapping/>
  </p:clrMapOvr>
  <p:hf hdr="0" dt="0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mparison with Subtitle (no bullet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lide Number Placeholder 5"/>
          <p:cNvSpPr>
            <a:spLocks noGrp="1"/>
          </p:cNvSpPr>
          <p:nvPr>
            <p:ph type="sldNum" sz="quarter" idx="17"/>
          </p:nvPr>
        </p:nvSpPr>
        <p:spPr bwMode="gray"/>
        <p:txBody>
          <a:bodyPr/>
          <a:lstStyle/>
          <a:p>
            <a:fld id="{3AB2DB24-5BB4-4F1B-973E-A10FA63DFB9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16"/>
          </p:nvPr>
        </p:nvSpPr>
        <p:spPr bwMode="gray"/>
        <p:txBody>
          <a:bodyPr/>
          <a:lstStyle/>
          <a:p>
            <a:r>
              <a:rPr lang="en-US"/>
              <a:t>Payment Innovation</a:t>
            </a:r>
            <a:endParaRPr lang="en-US" dirty="0"/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15"/>
          </p:nvPr>
        </p:nvSpPr>
        <p:spPr bwMode="gray"/>
        <p:txBody>
          <a:bodyPr/>
          <a:lstStyle/>
          <a:p>
            <a:r>
              <a:rPr lang="en-US"/>
              <a:t>October 31, 2023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4"/>
          </p:nvPr>
        </p:nvSpPr>
        <p:spPr bwMode="gray">
          <a:xfrm>
            <a:off x="3119438" y="192087"/>
            <a:ext cx="2642616" cy="4129257"/>
          </a:xfrm>
        </p:spPr>
        <p:txBody>
          <a:bodyPr/>
          <a:lstStyle>
            <a:lvl1pPr marL="0" indent="0">
              <a:buNone/>
              <a:defRPr/>
            </a:lvl1pPr>
            <a:lvl2pPr marL="147634" indent="0">
              <a:buNone/>
              <a:defRPr/>
            </a:lvl2pPr>
            <a:lvl3pPr marL="287330" indent="0">
              <a:buNone/>
              <a:defRPr/>
            </a:lvl3pPr>
            <a:lvl4pPr marL="434964" indent="0">
              <a:buNone/>
              <a:defRPr/>
            </a:lvl4pPr>
            <a:lvl5pPr marL="568311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Subtitle 2"/>
          <p:cNvSpPr>
            <a:spLocks noGrp="1"/>
          </p:cNvSpPr>
          <p:nvPr>
            <p:ph type="body" idx="13" hasCustomPrompt="1"/>
          </p:nvPr>
        </p:nvSpPr>
        <p:spPr bwMode="gray">
          <a:xfrm>
            <a:off x="164592" y="1042416"/>
            <a:ext cx="2725896" cy="617934"/>
          </a:xfrm>
        </p:spPr>
        <p:txBody>
          <a:bodyPr rIns="0" anchor="t" anchorCtr="0"/>
          <a:lstStyle>
            <a:lvl1pPr marL="0" indent="0">
              <a:buNone/>
              <a:defRPr sz="1400" b="0">
                <a:latin typeface="Mark Offc For MC" panose="020B0504020101010102" pitchFamily="34" charset="0"/>
              </a:defRPr>
            </a:lvl1pPr>
            <a:lvl2pPr marL="342891" indent="0">
              <a:buNone/>
              <a:defRPr sz="1500" b="1"/>
            </a:lvl2pPr>
            <a:lvl3pPr marL="685783" indent="0">
              <a:buNone/>
              <a:defRPr sz="1351" b="1"/>
            </a:lvl3pPr>
            <a:lvl4pPr marL="1028674" indent="0">
              <a:buNone/>
              <a:defRPr sz="1200" b="1"/>
            </a:lvl4pPr>
            <a:lvl5pPr marL="1371566" indent="0">
              <a:buNone/>
              <a:defRPr sz="1200" b="1"/>
            </a:lvl5pPr>
            <a:lvl6pPr marL="1714457" indent="0">
              <a:buNone/>
              <a:defRPr sz="1200" b="1"/>
            </a:lvl6pPr>
            <a:lvl7pPr marL="2057349" indent="0">
              <a:buNone/>
              <a:defRPr sz="1200" b="1"/>
            </a:lvl7pPr>
            <a:lvl8pPr marL="2400240" indent="0">
              <a:buNone/>
              <a:defRPr sz="1200" b="1"/>
            </a:lvl8pPr>
            <a:lvl9pPr marL="2743131" indent="0">
              <a:buNone/>
              <a:defRPr sz="1200" b="1"/>
            </a:lvl9pPr>
          </a:lstStyle>
          <a:p>
            <a:pPr lvl="0"/>
            <a:r>
              <a:rPr lang="en-US" dirty="0"/>
              <a:t>Click to add subtitle or secondary text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8"/>
          </p:nvPr>
        </p:nvSpPr>
        <p:spPr bwMode="gray">
          <a:xfrm>
            <a:off x="5934831" y="192087"/>
            <a:ext cx="2642616" cy="4129257"/>
          </a:xfrm>
        </p:spPr>
        <p:txBody>
          <a:bodyPr/>
          <a:lstStyle>
            <a:lvl1pPr marL="0" indent="0">
              <a:buNone/>
              <a:defRPr/>
            </a:lvl1pPr>
            <a:lvl2pPr marL="147634" indent="0">
              <a:buNone/>
              <a:defRPr/>
            </a:lvl2pPr>
            <a:lvl3pPr marL="287330" indent="0">
              <a:buNone/>
              <a:defRPr/>
            </a:lvl3pPr>
            <a:lvl4pPr marL="434964" indent="0">
              <a:buNone/>
              <a:defRPr/>
            </a:lvl4pPr>
            <a:lvl5pPr marL="568311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47657059"/>
      </p:ext>
    </p:extLst>
  </p:cSld>
  <p:clrMapOvr>
    <a:masterClrMapping/>
  </p:clrMapOvr>
  <p:hf hdr="0" dt="0"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(long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lide Number Placeholder 5"/>
          <p:cNvSpPr>
            <a:spLocks noGrp="1"/>
          </p:cNvSpPr>
          <p:nvPr>
            <p:ph type="sldNum" sz="quarter" idx="17"/>
          </p:nvPr>
        </p:nvSpPr>
        <p:spPr bwMode="gray"/>
        <p:txBody>
          <a:bodyPr/>
          <a:lstStyle/>
          <a:p>
            <a:fld id="{3AB2DB24-5BB4-4F1B-973E-A10FA63DFB9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16"/>
          </p:nvPr>
        </p:nvSpPr>
        <p:spPr bwMode="gray"/>
        <p:txBody>
          <a:bodyPr/>
          <a:lstStyle/>
          <a:p>
            <a:r>
              <a:rPr lang="en-US"/>
              <a:t>Payment Innovation</a:t>
            </a:r>
            <a:endParaRPr lang="en-US" dirty="0"/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15"/>
          </p:nvPr>
        </p:nvSpPr>
        <p:spPr bwMode="gray"/>
        <p:txBody>
          <a:bodyPr/>
          <a:lstStyle/>
          <a:p>
            <a:r>
              <a:rPr lang="en-US"/>
              <a:t>October 31, 2023</a:t>
            </a:r>
            <a:endParaRPr lang="en-US" dirty="0"/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 bwMode="gray">
          <a:xfrm>
            <a:off x="164592" y="192025"/>
            <a:ext cx="8412855" cy="31089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18528939"/>
      </p:ext>
    </p:extLst>
  </p:cSld>
  <p:clrMapOvr>
    <a:masterClrMapping/>
  </p:clrMapOvr>
  <p:hf hdr="0" dt="0"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3AB2DB24-5BB4-4F1B-973E-A10FA63DFB9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/>
              <a:t>Payment Innovation</a:t>
            </a:r>
            <a:endParaRPr lang="en-US" dirty="0"/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r>
              <a:rPr lang="en-US"/>
              <a:t>October 31, 2023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18299973"/>
      </p:ext>
    </p:extLst>
  </p:cSld>
  <p:clrMapOvr>
    <a:masterClrMapping/>
  </p:clrMapOvr>
  <p:hf hd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Graphic - 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SlideNameDept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164592" y="3466431"/>
            <a:ext cx="3124200" cy="170816"/>
          </a:xfrm>
        </p:spPr>
        <p:txBody>
          <a:bodyPr vert="horz" lIns="91440" tIns="0" rIns="91440" bIns="45720" rtlCol="0" anchor="t" anchorCtr="0">
            <a:spAutoFit/>
          </a:bodyPr>
          <a:lstStyle>
            <a:lvl1pPr marL="115885" indent="-115885">
              <a:buNone/>
              <a:defRPr lang="en-US" sz="900" b="0" cap="none" baseline="0" dirty="0" smtClean="0">
                <a:solidFill>
                  <a:srgbClr val="FFFFFF"/>
                </a:solidFill>
                <a:latin typeface="MarkForMC Nrw O" panose="020B0506020201010104" pitchFamily="34" charset="0"/>
              </a:defRPr>
            </a:lvl1pPr>
          </a:lstStyle>
          <a:p>
            <a:pPr marL="0" lvl="0" indent="0"/>
            <a:r>
              <a:rPr lang="en-US" dirty="0"/>
              <a:t>Click to add presenter name, department</a:t>
            </a:r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2"/>
          </p:nvPr>
        </p:nvSpPr>
        <p:spPr bwMode="gray">
          <a:xfrm>
            <a:off x="164592" y="3166956"/>
            <a:ext cx="3123564" cy="273844"/>
          </a:xfrm>
          <a:prstGeom prst="rect">
            <a:avLst/>
          </a:prstGeom>
        </p:spPr>
        <p:txBody>
          <a:bodyPr vert="horz" lIns="91440" tIns="45720" rIns="91440" bIns="0" rtlCol="0" anchor="b" anchorCtr="0"/>
          <a:lstStyle>
            <a:lvl1pPr>
              <a:defRPr lang="en-US" sz="900" cap="none" smtClean="0">
                <a:solidFill>
                  <a:srgbClr val="FFFFFF"/>
                </a:solidFill>
                <a:latin typeface="MarkForMC Nrw O" panose="020B0506020201010104" pitchFamily="34" charset="0"/>
              </a:defRPr>
            </a:lvl1pPr>
          </a:lstStyle>
          <a:p>
            <a:r>
              <a:rPr lang="en-US"/>
              <a:t>October 31, 2023</a:t>
            </a:r>
            <a:endParaRPr lang="en-US" dirty="0"/>
          </a:p>
        </p:txBody>
      </p:sp>
      <p:sp>
        <p:nvSpPr>
          <p:cNvPr id="25" name="Subtitle 2"/>
          <p:cNvSpPr>
            <a:spLocks noGrp="1"/>
          </p:cNvSpPr>
          <p:nvPr>
            <p:ph type="subTitle" idx="1"/>
          </p:nvPr>
        </p:nvSpPr>
        <p:spPr bwMode="gray">
          <a:xfrm>
            <a:off x="164591" y="2717911"/>
            <a:ext cx="6702552" cy="498725"/>
          </a:xfrm>
          <a:ln>
            <a:noFill/>
          </a:ln>
        </p:spPr>
        <p:txBody>
          <a:bodyPr rIns="91440"/>
          <a:lstStyle>
            <a:lvl1pPr marL="0" indent="0" algn="l">
              <a:lnSpc>
                <a:spcPct val="80000"/>
              </a:lnSpc>
              <a:buNone/>
              <a:defRPr sz="1400">
                <a:solidFill>
                  <a:srgbClr val="FFFFFF"/>
                </a:solidFill>
                <a:latin typeface="Mark Offc For MC" panose="020B0504020101010102" pitchFamily="34" charset="0"/>
              </a:defRPr>
            </a:lvl1pPr>
            <a:lvl2pPr marL="342891" indent="0" algn="ctr">
              <a:buNone/>
              <a:defRPr sz="1500"/>
            </a:lvl2pPr>
            <a:lvl3pPr marL="685783" indent="0" algn="ctr">
              <a:buNone/>
              <a:defRPr sz="1351"/>
            </a:lvl3pPr>
            <a:lvl4pPr marL="1028674" indent="0" algn="ctr">
              <a:buNone/>
              <a:defRPr sz="1200"/>
            </a:lvl4pPr>
            <a:lvl5pPr marL="1371566" indent="0" algn="ctr">
              <a:buNone/>
              <a:defRPr sz="1200"/>
            </a:lvl5pPr>
            <a:lvl6pPr marL="1714457" indent="0" algn="ctr">
              <a:buNone/>
              <a:defRPr sz="1200"/>
            </a:lvl6pPr>
            <a:lvl7pPr marL="2057349" indent="0" algn="ctr">
              <a:buNone/>
              <a:defRPr sz="1200"/>
            </a:lvl7pPr>
            <a:lvl8pPr marL="2400240" indent="0" algn="ctr">
              <a:buNone/>
              <a:defRPr sz="1200"/>
            </a:lvl8pPr>
            <a:lvl9pPr marL="2743131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4" name="Title 1"/>
          <p:cNvSpPr>
            <a:spLocks noGrp="1"/>
          </p:cNvSpPr>
          <p:nvPr>
            <p:ph type="ctrTitle"/>
          </p:nvPr>
        </p:nvSpPr>
        <p:spPr bwMode="gray">
          <a:xfrm>
            <a:off x="164591" y="1430456"/>
            <a:ext cx="6702552" cy="1274195"/>
          </a:xfrm>
          <a:ln>
            <a:noFill/>
          </a:ln>
        </p:spPr>
        <p:txBody>
          <a:bodyPr rIns="91440" anchor="b"/>
          <a:lstStyle>
            <a:lvl1pPr algn="l">
              <a:lnSpc>
                <a:spcPct val="80000"/>
              </a:lnSpc>
              <a:defRPr sz="4800" b="0">
                <a:solidFill>
                  <a:srgbClr val="FFFFFF"/>
                </a:solidFill>
                <a:latin typeface="Mark Offc For MC Extra Light" panose="020B0404020101010102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grpSp>
        <p:nvGrpSpPr>
          <p:cNvPr id="11" name="Graphic 9">
            <a:extLst>
              <a:ext uri="{FF2B5EF4-FFF2-40B4-BE49-F238E27FC236}">
                <a16:creationId xmlns:a16="http://schemas.microsoft.com/office/drawing/2014/main" id="{143DA5ED-EC8F-47D7-99AF-FFD50025629B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8288899" y="258318"/>
            <a:ext cx="595440" cy="370757"/>
            <a:chOff x="248864" y="1309239"/>
            <a:chExt cx="1116830" cy="695406"/>
          </a:xfrm>
        </p:grpSpPr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DE8644FF-21BA-44E2-97CD-A0A837D4E01B}"/>
                </a:ext>
              </a:extLst>
            </p:cNvPr>
            <p:cNvSpPr/>
            <p:nvPr/>
          </p:nvSpPr>
          <p:spPr bwMode="gray">
            <a:xfrm>
              <a:off x="653702" y="1382595"/>
              <a:ext cx="314326" cy="552451"/>
            </a:xfrm>
            <a:custGeom>
              <a:avLst/>
              <a:gdLst>
                <a:gd name="connsiteX0" fmla="*/ 7144 w 314325"/>
                <a:gd name="connsiteY0" fmla="*/ 7144 h 552450"/>
                <a:gd name="connsiteX1" fmla="*/ 307181 w 314325"/>
                <a:gd name="connsiteY1" fmla="*/ 7144 h 552450"/>
                <a:gd name="connsiteX2" fmla="*/ 307181 w 314325"/>
                <a:gd name="connsiteY2" fmla="*/ 546354 h 552450"/>
                <a:gd name="connsiteX3" fmla="*/ 7144 w 314325"/>
                <a:gd name="connsiteY3" fmla="*/ 546354 h 552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14325" h="552450">
                  <a:moveTo>
                    <a:pt x="7144" y="7144"/>
                  </a:moveTo>
                  <a:lnTo>
                    <a:pt x="307181" y="7144"/>
                  </a:lnTo>
                  <a:lnTo>
                    <a:pt x="307181" y="546354"/>
                  </a:lnTo>
                  <a:lnTo>
                    <a:pt x="7144" y="546354"/>
                  </a:lnTo>
                  <a:close/>
                </a:path>
              </a:pathLst>
            </a:custGeom>
            <a:solidFill>
              <a:srgbClr val="FF5F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/>
              <a:endParaRPr lang="en-US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80FC94E2-E937-4C00-884F-B06ADD316975}"/>
                </a:ext>
              </a:extLst>
            </p:cNvPr>
            <p:cNvSpPr/>
            <p:nvPr/>
          </p:nvSpPr>
          <p:spPr bwMode="gray">
            <a:xfrm>
              <a:off x="248864" y="1309239"/>
              <a:ext cx="561975" cy="695324"/>
            </a:xfrm>
            <a:custGeom>
              <a:avLst/>
              <a:gdLst>
                <a:gd name="connsiteX0" fmla="*/ 431031 w 561975"/>
                <a:gd name="connsiteY0" fmla="*/ 350058 h 695325"/>
                <a:gd name="connsiteX1" fmla="*/ 562000 w 561975"/>
                <a:gd name="connsiteY1" fmla="*/ 80501 h 695325"/>
                <a:gd name="connsiteX2" fmla="*/ 80501 w 561975"/>
                <a:gd name="connsiteY2" fmla="*/ 138117 h 695325"/>
                <a:gd name="connsiteX3" fmla="*/ 138117 w 561975"/>
                <a:gd name="connsiteY3" fmla="*/ 619616 h 695325"/>
                <a:gd name="connsiteX4" fmla="*/ 562000 w 561975"/>
                <a:gd name="connsiteY4" fmla="*/ 619616 h 695325"/>
                <a:gd name="connsiteX5" fmla="*/ 431031 w 561975"/>
                <a:gd name="connsiteY5" fmla="*/ 350058 h 6953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61975" h="695325">
                  <a:moveTo>
                    <a:pt x="431031" y="350058"/>
                  </a:moveTo>
                  <a:cubicBezTo>
                    <a:pt x="430905" y="244845"/>
                    <a:pt x="479209" y="145428"/>
                    <a:pt x="562000" y="80501"/>
                  </a:cubicBezTo>
                  <a:cubicBezTo>
                    <a:pt x="413127" y="-36551"/>
                    <a:pt x="197553" y="-10756"/>
                    <a:pt x="80501" y="138117"/>
                  </a:cubicBezTo>
                  <a:cubicBezTo>
                    <a:pt x="-36551" y="286989"/>
                    <a:pt x="-10756" y="502564"/>
                    <a:pt x="138117" y="619616"/>
                  </a:cubicBezTo>
                  <a:cubicBezTo>
                    <a:pt x="262491" y="717406"/>
                    <a:pt x="437626" y="717406"/>
                    <a:pt x="562000" y="619616"/>
                  </a:cubicBezTo>
                  <a:cubicBezTo>
                    <a:pt x="479209" y="554688"/>
                    <a:pt x="430905" y="455272"/>
                    <a:pt x="431031" y="350058"/>
                  </a:cubicBezTo>
                  <a:close/>
                </a:path>
              </a:pathLst>
            </a:custGeom>
            <a:solidFill>
              <a:srgbClr val="EB001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/>
              <a:endParaRPr lang="en-US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AF292F27-EB87-4FC0-9253-ED0366702A71}"/>
                </a:ext>
              </a:extLst>
            </p:cNvPr>
            <p:cNvSpPr/>
            <p:nvPr/>
          </p:nvSpPr>
          <p:spPr bwMode="gray">
            <a:xfrm>
              <a:off x="803719" y="1309321"/>
              <a:ext cx="561975" cy="695324"/>
            </a:xfrm>
            <a:custGeom>
              <a:avLst/>
              <a:gdLst>
                <a:gd name="connsiteX0" fmla="*/ 561880 w 561975"/>
                <a:gd name="connsiteY0" fmla="*/ 349975 h 695325"/>
                <a:gd name="connsiteX1" fmla="*/ 218897 w 561975"/>
                <a:gd name="connsiteY1" fmla="*/ 692793 h 695325"/>
                <a:gd name="connsiteX2" fmla="*/ 7144 w 561975"/>
                <a:gd name="connsiteY2" fmla="*/ 619533 h 695325"/>
                <a:gd name="connsiteX3" fmla="*/ 64760 w 561975"/>
                <a:gd name="connsiteY3" fmla="*/ 138034 h 695325"/>
                <a:gd name="connsiteX4" fmla="*/ 7144 w 561975"/>
                <a:gd name="connsiteY4" fmla="*/ 80418 h 695325"/>
                <a:gd name="connsiteX5" fmla="*/ 488620 w 561975"/>
                <a:gd name="connsiteY5" fmla="*/ 138222 h 695325"/>
                <a:gd name="connsiteX6" fmla="*/ 561880 w 561975"/>
                <a:gd name="connsiteY6" fmla="*/ 349975 h 695325"/>
                <a:gd name="connsiteX7" fmla="*/ 529209 w 561975"/>
                <a:gd name="connsiteY7" fmla="*/ 562478 h 695325"/>
                <a:gd name="connsiteX8" fmla="*/ 529209 w 561975"/>
                <a:gd name="connsiteY8" fmla="*/ 551429 h 695325"/>
                <a:gd name="connsiteX9" fmla="*/ 533686 w 561975"/>
                <a:gd name="connsiteY9" fmla="*/ 551429 h 695325"/>
                <a:gd name="connsiteX10" fmla="*/ 533686 w 561975"/>
                <a:gd name="connsiteY10" fmla="*/ 549143 h 695325"/>
                <a:gd name="connsiteX11" fmla="*/ 522446 w 561975"/>
                <a:gd name="connsiteY11" fmla="*/ 549143 h 695325"/>
                <a:gd name="connsiteX12" fmla="*/ 522446 w 561975"/>
                <a:gd name="connsiteY12" fmla="*/ 551429 h 695325"/>
                <a:gd name="connsiteX13" fmla="*/ 526828 w 561975"/>
                <a:gd name="connsiteY13" fmla="*/ 551429 h 695325"/>
                <a:gd name="connsiteX14" fmla="*/ 526828 w 561975"/>
                <a:gd name="connsiteY14" fmla="*/ 562478 h 695325"/>
                <a:gd name="connsiteX15" fmla="*/ 551212 w 561975"/>
                <a:gd name="connsiteY15" fmla="*/ 562478 h 695325"/>
                <a:gd name="connsiteX16" fmla="*/ 551212 w 561975"/>
                <a:gd name="connsiteY16" fmla="*/ 549143 h 695325"/>
                <a:gd name="connsiteX17" fmla="*/ 547687 w 561975"/>
                <a:gd name="connsiteY17" fmla="*/ 549143 h 695325"/>
                <a:gd name="connsiteX18" fmla="*/ 543687 w 561975"/>
                <a:gd name="connsiteY18" fmla="*/ 558668 h 695325"/>
                <a:gd name="connsiteX19" fmla="*/ 539686 w 561975"/>
                <a:gd name="connsiteY19" fmla="*/ 549143 h 695325"/>
                <a:gd name="connsiteX20" fmla="*/ 536258 w 561975"/>
                <a:gd name="connsiteY20" fmla="*/ 549143 h 695325"/>
                <a:gd name="connsiteX21" fmla="*/ 536258 w 561975"/>
                <a:gd name="connsiteY21" fmla="*/ 562478 h 695325"/>
                <a:gd name="connsiteX22" fmla="*/ 538734 w 561975"/>
                <a:gd name="connsiteY22" fmla="*/ 562478 h 695325"/>
                <a:gd name="connsiteX23" fmla="*/ 538734 w 561975"/>
                <a:gd name="connsiteY23" fmla="*/ 552382 h 695325"/>
                <a:gd name="connsiteX24" fmla="*/ 542449 w 561975"/>
                <a:gd name="connsiteY24" fmla="*/ 561049 h 695325"/>
                <a:gd name="connsiteX25" fmla="*/ 545020 w 561975"/>
                <a:gd name="connsiteY25" fmla="*/ 561049 h 695325"/>
                <a:gd name="connsiteX26" fmla="*/ 548735 w 561975"/>
                <a:gd name="connsiteY26" fmla="*/ 552382 h 695325"/>
                <a:gd name="connsiteX27" fmla="*/ 548735 w 561975"/>
                <a:gd name="connsiteY27" fmla="*/ 562478 h 6953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561975" h="695325">
                  <a:moveTo>
                    <a:pt x="561880" y="349975"/>
                  </a:moveTo>
                  <a:cubicBezTo>
                    <a:pt x="561834" y="539354"/>
                    <a:pt x="408276" y="692838"/>
                    <a:pt x="218897" y="692793"/>
                  </a:cubicBezTo>
                  <a:cubicBezTo>
                    <a:pt x="142100" y="692774"/>
                    <a:pt x="67533" y="666976"/>
                    <a:pt x="7144" y="619533"/>
                  </a:cubicBezTo>
                  <a:cubicBezTo>
                    <a:pt x="156016" y="502481"/>
                    <a:pt x="181812" y="286906"/>
                    <a:pt x="64760" y="138034"/>
                  </a:cubicBezTo>
                  <a:cubicBezTo>
                    <a:pt x="47913" y="116607"/>
                    <a:pt x="28571" y="97265"/>
                    <a:pt x="7144" y="80418"/>
                  </a:cubicBezTo>
                  <a:cubicBezTo>
                    <a:pt x="156062" y="-36576"/>
                    <a:pt x="371626" y="-10696"/>
                    <a:pt x="488620" y="138222"/>
                  </a:cubicBezTo>
                  <a:cubicBezTo>
                    <a:pt x="536063" y="198612"/>
                    <a:pt x="561861" y="273179"/>
                    <a:pt x="561880" y="349975"/>
                  </a:cubicBezTo>
                  <a:close/>
                  <a:moveTo>
                    <a:pt x="529209" y="562478"/>
                  </a:moveTo>
                  <a:lnTo>
                    <a:pt x="529209" y="551429"/>
                  </a:lnTo>
                  <a:lnTo>
                    <a:pt x="533686" y="551429"/>
                  </a:lnTo>
                  <a:lnTo>
                    <a:pt x="533686" y="549143"/>
                  </a:lnTo>
                  <a:lnTo>
                    <a:pt x="522446" y="549143"/>
                  </a:lnTo>
                  <a:lnTo>
                    <a:pt x="522446" y="551429"/>
                  </a:lnTo>
                  <a:lnTo>
                    <a:pt x="526828" y="551429"/>
                  </a:lnTo>
                  <a:lnTo>
                    <a:pt x="526828" y="562478"/>
                  </a:lnTo>
                  <a:close/>
                  <a:moveTo>
                    <a:pt x="551212" y="562478"/>
                  </a:moveTo>
                  <a:lnTo>
                    <a:pt x="551212" y="549143"/>
                  </a:lnTo>
                  <a:lnTo>
                    <a:pt x="547687" y="549143"/>
                  </a:lnTo>
                  <a:lnTo>
                    <a:pt x="543687" y="558668"/>
                  </a:lnTo>
                  <a:lnTo>
                    <a:pt x="539686" y="549143"/>
                  </a:lnTo>
                  <a:lnTo>
                    <a:pt x="536258" y="549143"/>
                  </a:lnTo>
                  <a:lnTo>
                    <a:pt x="536258" y="562478"/>
                  </a:lnTo>
                  <a:lnTo>
                    <a:pt x="538734" y="562478"/>
                  </a:lnTo>
                  <a:lnTo>
                    <a:pt x="538734" y="552382"/>
                  </a:lnTo>
                  <a:lnTo>
                    <a:pt x="542449" y="561049"/>
                  </a:lnTo>
                  <a:lnTo>
                    <a:pt x="545020" y="561049"/>
                  </a:lnTo>
                  <a:lnTo>
                    <a:pt x="548735" y="552382"/>
                  </a:lnTo>
                  <a:lnTo>
                    <a:pt x="548735" y="562478"/>
                  </a:lnTo>
                  <a:close/>
                </a:path>
              </a:pathLst>
            </a:custGeom>
            <a:solidFill>
              <a:srgbClr val="F79E1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21167592"/>
      </p:ext>
    </p:extLst>
  </p:cSld>
  <p:clrMapOvr>
    <a:masterClrMapping/>
  </p:clrMapOvr>
  <p:hf hdr="0" dt="0"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ull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4"/>
          </p:nvPr>
        </p:nvSpPr>
        <p:spPr bwMode="gray"/>
        <p:txBody>
          <a:bodyPr/>
          <a:lstStyle/>
          <a:p>
            <a:fld id="{3AB2DB24-5BB4-4F1B-973E-A10FA63DFB9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3"/>
          </p:nvPr>
        </p:nvSpPr>
        <p:spPr bwMode="gray"/>
        <p:txBody>
          <a:bodyPr/>
          <a:lstStyle/>
          <a:p>
            <a:r>
              <a:rPr lang="en-US"/>
              <a:t>Payment Innovatio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2"/>
          </p:nvPr>
        </p:nvSpPr>
        <p:spPr bwMode="gray"/>
        <p:txBody>
          <a:bodyPr/>
          <a:lstStyle/>
          <a:p>
            <a:r>
              <a:rPr lang="en-US"/>
              <a:t>October 31, 2023</a:t>
            </a:r>
            <a:endParaRPr lang="en-US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0" y="1"/>
            <a:ext cx="9144000" cy="4563910"/>
          </a:xfrm>
        </p:spPr>
        <p:txBody>
          <a:bodyPr tIns="182880" rIns="91440" bIns="1005840" anchor="b" anchorCtr="0"/>
          <a:lstStyle>
            <a:lvl1pPr marL="0" indent="0" algn="ctr">
              <a:spcBef>
                <a:spcPts val="0"/>
              </a:spcBef>
              <a:buNone/>
              <a:defRPr>
                <a:solidFill>
                  <a:srgbClr val="B9B9B9"/>
                </a:solidFill>
                <a:latin typeface="+mn-lt"/>
              </a:defRPr>
            </a:lvl1pPr>
          </a:lstStyle>
          <a:p>
            <a:r>
              <a:rPr lang="en-US" dirty="0"/>
              <a:t>Click icon to add image.</a:t>
            </a:r>
            <a:br>
              <a:rPr lang="en-US" dirty="0"/>
            </a:br>
            <a:r>
              <a:rPr lang="en-US" dirty="0"/>
              <a:t>Get </a:t>
            </a:r>
            <a:r>
              <a:rPr lang="en-US" dirty="0" err="1"/>
              <a:t>Mastercard</a:t>
            </a:r>
            <a:r>
              <a:rPr lang="en-US" dirty="0"/>
              <a:t> approved photography and</a:t>
            </a:r>
            <a:br>
              <a:rPr lang="en-US" dirty="0"/>
            </a:br>
            <a:r>
              <a:rPr lang="en-US" dirty="0"/>
              <a:t>imagery guidelines at designcenter.mastercard.com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164594" y="192025"/>
            <a:ext cx="8412854" cy="53553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64919598"/>
      </p:ext>
    </p:extLst>
  </p:cSld>
  <p:clrMapOvr>
    <a:masterClrMapping/>
  </p:clrMapOvr>
  <p:hf hdr="0" dt="0"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2"/>
          <p:cNvSpPr>
            <a:spLocks noGrp="1"/>
          </p:cNvSpPr>
          <p:nvPr>
            <p:ph type="body" idx="1" hasCustomPrompt="1"/>
          </p:nvPr>
        </p:nvSpPr>
        <p:spPr bwMode="gray">
          <a:xfrm>
            <a:off x="164593" y="292608"/>
            <a:ext cx="4198001" cy="321562"/>
          </a:xfrm>
        </p:spPr>
        <p:txBody>
          <a:bodyPr/>
          <a:lstStyle>
            <a:lvl1pPr marL="0" indent="0">
              <a:buNone/>
              <a:defRPr sz="1600" b="1">
                <a:solidFill>
                  <a:schemeClr val="tx1"/>
                </a:solidFill>
                <a:latin typeface="Mark Offc For MC" panose="020B0504020101010102" pitchFamily="34" charset="0"/>
              </a:defRPr>
            </a:lvl1pPr>
            <a:lvl2pPr marL="342891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783" indent="0">
              <a:buNone/>
              <a:defRPr sz="1351">
                <a:solidFill>
                  <a:schemeClr val="tx1">
                    <a:tint val="75000"/>
                  </a:schemeClr>
                </a:solidFill>
              </a:defRPr>
            </a:lvl3pPr>
            <a:lvl4pPr marL="1028674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566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457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349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24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131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add section number</a:t>
            </a: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164594" y="725238"/>
            <a:ext cx="4198001" cy="1034129"/>
          </a:xfrm>
        </p:spPr>
        <p:txBody>
          <a:bodyPr anchor="t" anchorCtr="0"/>
          <a:lstStyle>
            <a:lvl1pPr>
              <a:defRPr sz="3400" b="0">
                <a:solidFill>
                  <a:schemeClr val="tx1"/>
                </a:solidFill>
                <a:latin typeface="Mark Offc For MC Extra Light" panose="020B0404020101010102" pitchFamily="34" charset="0"/>
              </a:defRPr>
            </a:lvl1pPr>
          </a:lstStyle>
          <a:p>
            <a:r>
              <a:rPr lang="en-US" dirty="0"/>
              <a:t>Click to add section title</a:t>
            </a:r>
          </a:p>
        </p:txBody>
      </p:sp>
      <p:grpSp>
        <p:nvGrpSpPr>
          <p:cNvPr id="8" name="Graphic 9">
            <a:extLst>
              <a:ext uri="{FF2B5EF4-FFF2-40B4-BE49-F238E27FC236}">
                <a16:creationId xmlns:a16="http://schemas.microsoft.com/office/drawing/2014/main" id="{FC7AEDB7-9474-4069-B4D4-90D81ACEA78B}"/>
              </a:ext>
            </a:extLst>
          </p:cNvPr>
          <p:cNvGrpSpPr>
            <a:grpSpLocks noChangeAspect="1"/>
          </p:cNvGrpSpPr>
          <p:nvPr userDrawn="1"/>
        </p:nvGrpSpPr>
        <p:grpSpPr bwMode="gray">
          <a:xfrm>
            <a:off x="8288899" y="258318"/>
            <a:ext cx="595440" cy="370757"/>
            <a:chOff x="248864" y="1309239"/>
            <a:chExt cx="1116830" cy="695406"/>
          </a:xfrm>
        </p:grpSpPr>
        <p:sp>
          <p:nvSpPr>
            <p:cNvPr id="9" name="Freeform: Shape 8">
              <a:extLst>
                <a:ext uri="{FF2B5EF4-FFF2-40B4-BE49-F238E27FC236}">
                  <a16:creationId xmlns:a16="http://schemas.microsoft.com/office/drawing/2014/main" id="{824F48FD-74BA-4822-AAA7-5023C048C43B}"/>
                </a:ext>
              </a:extLst>
            </p:cNvPr>
            <p:cNvSpPr/>
            <p:nvPr/>
          </p:nvSpPr>
          <p:spPr bwMode="gray">
            <a:xfrm>
              <a:off x="653702" y="1382595"/>
              <a:ext cx="314326" cy="552451"/>
            </a:xfrm>
            <a:custGeom>
              <a:avLst/>
              <a:gdLst>
                <a:gd name="connsiteX0" fmla="*/ 7144 w 314325"/>
                <a:gd name="connsiteY0" fmla="*/ 7144 h 552450"/>
                <a:gd name="connsiteX1" fmla="*/ 307181 w 314325"/>
                <a:gd name="connsiteY1" fmla="*/ 7144 h 552450"/>
                <a:gd name="connsiteX2" fmla="*/ 307181 w 314325"/>
                <a:gd name="connsiteY2" fmla="*/ 546354 h 552450"/>
                <a:gd name="connsiteX3" fmla="*/ 7144 w 314325"/>
                <a:gd name="connsiteY3" fmla="*/ 546354 h 552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14325" h="552450">
                  <a:moveTo>
                    <a:pt x="7144" y="7144"/>
                  </a:moveTo>
                  <a:lnTo>
                    <a:pt x="307181" y="7144"/>
                  </a:lnTo>
                  <a:lnTo>
                    <a:pt x="307181" y="546354"/>
                  </a:lnTo>
                  <a:lnTo>
                    <a:pt x="7144" y="546354"/>
                  </a:lnTo>
                  <a:close/>
                </a:path>
              </a:pathLst>
            </a:custGeom>
            <a:solidFill>
              <a:srgbClr val="FF5F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/>
              <a:endParaRPr lang="en-US"/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7FF80409-8248-4F08-B70D-7CDEDBB80330}"/>
                </a:ext>
              </a:extLst>
            </p:cNvPr>
            <p:cNvSpPr/>
            <p:nvPr/>
          </p:nvSpPr>
          <p:spPr bwMode="gray">
            <a:xfrm>
              <a:off x="248864" y="1309239"/>
              <a:ext cx="561975" cy="695324"/>
            </a:xfrm>
            <a:custGeom>
              <a:avLst/>
              <a:gdLst>
                <a:gd name="connsiteX0" fmla="*/ 431031 w 561975"/>
                <a:gd name="connsiteY0" fmla="*/ 350058 h 695325"/>
                <a:gd name="connsiteX1" fmla="*/ 562000 w 561975"/>
                <a:gd name="connsiteY1" fmla="*/ 80501 h 695325"/>
                <a:gd name="connsiteX2" fmla="*/ 80501 w 561975"/>
                <a:gd name="connsiteY2" fmla="*/ 138117 h 695325"/>
                <a:gd name="connsiteX3" fmla="*/ 138117 w 561975"/>
                <a:gd name="connsiteY3" fmla="*/ 619616 h 695325"/>
                <a:gd name="connsiteX4" fmla="*/ 562000 w 561975"/>
                <a:gd name="connsiteY4" fmla="*/ 619616 h 695325"/>
                <a:gd name="connsiteX5" fmla="*/ 431031 w 561975"/>
                <a:gd name="connsiteY5" fmla="*/ 350058 h 6953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61975" h="695325">
                  <a:moveTo>
                    <a:pt x="431031" y="350058"/>
                  </a:moveTo>
                  <a:cubicBezTo>
                    <a:pt x="430905" y="244845"/>
                    <a:pt x="479209" y="145428"/>
                    <a:pt x="562000" y="80501"/>
                  </a:cubicBezTo>
                  <a:cubicBezTo>
                    <a:pt x="413127" y="-36551"/>
                    <a:pt x="197553" y="-10756"/>
                    <a:pt x="80501" y="138117"/>
                  </a:cubicBezTo>
                  <a:cubicBezTo>
                    <a:pt x="-36551" y="286989"/>
                    <a:pt x="-10756" y="502564"/>
                    <a:pt x="138117" y="619616"/>
                  </a:cubicBezTo>
                  <a:cubicBezTo>
                    <a:pt x="262491" y="717406"/>
                    <a:pt x="437626" y="717406"/>
                    <a:pt x="562000" y="619616"/>
                  </a:cubicBezTo>
                  <a:cubicBezTo>
                    <a:pt x="479209" y="554688"/>
                    <a:pt x="430905" y="455272"/>
                    <a:pt x="431031" y="350058"/>
                  </a:cubicBezTo>
                  <a:close/>
                </a:path>
              </a:pathLst>
            </a:custGeom>
            <a:solidFill>
              <a:srgbClr val="EB001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/>
              <a:endParaRPr lang="en-US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C4F2DFB3-402C-4089-890D-CDB8ABDAB783}"/>
                </a:ext>
              </a:extLst>
            </p:cNvPr>
            <p:cNvSpPr/>
            <p:nvPr/>
          </p:nvSpPr>
          <p:spPr bwMode="gray">
            <a:xfrm>
              <a:off x="803719" y="1309322"/>
              <a:ext cx="561975" cy="695323"/>
            </a:xfrm>
            <a:custGeom>
              <a:avLst/>
              <a:gdLst>
                <a:gd name="connsiteX0" fmla="*/ 561880 w 561975"/>
                <a:gd name="connsiteY0" fmla="*/ 349975 h 695325"/>
                <a:gd name="connsiteX1" fmla="*/ 218897 w 561975"/>
                <a:gd name="connsiteY1" fmla="*/ 692793 h 695325"/>
                <a:gd name="connsiteX2" fmla="*/ 7144 w 561975"/>
                <a:gd name="connsiteY2" fmla="*/ 619533 h 695325"/>
                <a:gd name="connsiteX3" fmla="*/ 64760 w 561975"/>
                <a:gd name="connsiteY3" fmla="*/ 138034 h 695325"/>
                <a:gd name="connsiteX4" fmla="*/ 7144 w 561975"/>
                <a:gd name="connsiteY4" fmla="*/ 80418 h 695325"/>
                <a:gd name="connsiteX5" fmla="*/ 488620 w 561975"/>
                <a:gd name="connsiteY5" fmla="*/ 138222 h 695325"/>
                <a:gd name="connsiteX6" fmla="*/ 561880 w 561975"/>
                <a:gd name="connsiteY6" fmla="*/ 349975 h 695325"/>
                <a:gd name="connsiteX7" fmla="*/ 529209 w 561975"/>
                <a:gd name="connsiteY7" fmla="*/ 562478 h 695325"/>
                <a:gd name="connsiteX8" fmla="*/ 529209 w 561975"/>
                <a:gd name="connsiteY8" fmla="*/ 551429 h 695325"/>
                <a:gd name="connsiteX9" fmla="*/ 533686 w 561975"/>
                <a:gd name="connsiteY9" fmla="*/ 551429 h 695325"/>
                <a:gd name="connsiteX10" fmla="*/ 533686 w 561975"/>
                <a:gd name="connsiteY10" fmla="*/ 549143 h 695325"/>
                <a:gd name="connsiteX11" fmla="*/ 522446 w 561975"/>
                <a:gd name="connsiteY11" fmla="*/ 549143 h 695325"/>
                <a:gd name="connsiteX12" fmla="*/ 522446 w 561975"/>
                <a:gd name="connsiteY12" fmla="*/ 551429 h 695325"/>
                <a:gd name="connsiteX13" fmla="*/ 526828 w 561975"/>
                <a:gd name="connsiteY13" fmla="*/ 551429 h 695325"/>
                <a:gd name="connsiteX14" fmla="*/ 526828 w 561975"/>
                <a:gd name="connsiteY14" fmla="*/ 562478 h 695325"/>
                <a:gd name="connsiteX15" fmla="*/ 551212 w 561975"/>
                <a:gd name="connsiteY15" fmla="*/ 562478 h 695325"/>
                <a:gd name="connsiteX16" fmla="*/ 551212 w 561975"/>
                <a:gd name="connsiteY16" fmla="*/ 549143 h 695325"/>
                <a:gd name="connsiteX17" fmla="*/ 547687 w 561975"/>
                <a:gd name="connsiteY17" fmla="*/ 549143 h 695325"/>
                <a:gd name="connsiteX18" fmla="*/ 543687 w 561975"/>
                <a:gd name="connsiteY18" fmla="*/ 558668 h 695325"/>
                <a:gd name="connsiteX19" fmla="*/ 539686 w 561975"/>
                <a:gd name="connsiteY19" fmla="*/ 549143 h 695325"/>
                <a:gd name="connsiteX20" fmla="*/ 536258 w 561975"/>
                <a:gd name="connsiteY20" fmla="*/ 549143 h 695325"/>
                <a:gd name="connsiteX21" fmla="*/ 536258 w 561975"/>
                <a:gd name="connsiteY21" fmla="*/ 562478 h 695325"/>
                <a:gd name="connsiteX22" fmla="*/ 538734 w 561975"/>
                <a:gd name="connsiteY22" fmla="*/ 562478 h 695325"/>
                <a:gd name="connsiteX23" fmla="*/ 538734 w 561975"/>
                <a:gd name="connsiteY23" fmla="*/ 552382 h 695325"/>
                <a:gd name="connsiteX24" fmla="*/ 542449 w 561975"/>
                <a:gd name="connsiteY24" fmla="*/ 561049 h 695325"/>
                <a:gd name="connsiteX25" fmla="*/ 545020 w 561975"/>
                <a:gd name="connsiteY25" fmla="*/ 561049 h 695325"/>
                <a:gd name="connsiteX26" fmla="*/ 548735 w 561975"/>
                <a:gd name="connsiteY26" fmla="*/ 552382 h 695325"/>
                <a:gd name="connsiteX27" fmla="*/ 548735 w 561975"/>
                <a:gd name="connsiteY27" fmla="*/ 562478 h 6953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561975" h="695325">
                  <a:moveTo>
                    <a:pt x="561880" y="349975"/>
                  </a:moveTo>
                  <a:cubicBezTo>
                    <a:pt x="561834" y="539354"/>
                    <a:pt x="408276" y="692838"/>
                    <a:pt x="218897" y="692793"/>
                  </a:cubicBezTo>
                  <a:cubicBezTo>
                    <a:pt x="142100" y="692774"/>
                    <a:pt x="67533" y="666976"/>
                    <a:pt x="7144" y="619533"/>
                  </a:cubicBezTo>
                  <a:cubicBezTo>
                    <a:pt x="156016" y="502481"/>
                    <a:pt x="181812" y="286906"/>
                    <a:pt x="64760" y="138034"/>
                  </a:cubicBezTo>
                  <a:cubicBezTo>
                    <a:pt x="47913" y="116607"/>
                    <a:pt x="28571" y="97265"/>
                    <a:pt x="7144" y="80418"/>
                  </a:cubicBezTo>
                  <a:cubicBezTo>
                    <a:pt x="156062" y="-36576"/>
                    <a:pt x="371626" y="-10696"/>
                    <a:pt x="488620" y="138222"/>
                  </a:cubicBezTo>
                  <a:cubicBezTo>
                    <a:pt x="536063" y="198612"/>
                    <a:pt x="561861" y="273179"/>
                    <a:pt x="561880" y="349975"/>
                  </a:cubicBezTo>
                  <a:close/>
                  <a:moveTo>
                    <a:pt x="529209" y="562478"/>
                  </a:moveTo>
                  <a:lnTo>
                    <a:pt x="529209" y="551429"/>
                  </a:lnTo>
                  <a:lnTo>
                    <a:pt x="533686" y="551429"/>
                  </a:lnTo>
                  <a:lnTo>
                    <a:pt x="533686" y="549143"/>
                  </a:lnTo>
                  <a:lnTo>
                    <a:pt x="522446" y="549143"/>
                  </a:lnTo>
                  <a:lnTo>
                    <a:pt x="522446" y="551429"/>
                  </a:lnTo>
                  <a:lnTo>
                    <a:pt x="526828" y="551429"/>
                  </a:lnTo>
                  <a:lnTo>
                    <a:pt x="526828" y="562478"/>
                  </a:lnTo>
                  <a:close/>
                  <a:moveTo>
                    <a:pt x="551212" y="562478"/>
                  </a:moveTo>
                  <a:lnTo>
                    <a:pt x="551212" y="549143"/>
                  </a:lnTo>
                  <a:lnTo>
                    <a:pt x="547687" y="549143"/>
                  </a:lnTo>
                  <a:lnTo>
                    <a:pt x="543687" y="558668"/>
                  </a:lnTo>
                  <a:lnTo>
                    <a:pt x="539686" y="549143"/>
                  </a:lnTo>
                  <a:lnTo>
                    <a:pt x="536258" y="549143"/>
                  </a:lnTo>
                  <a:lnTo>
                    <a:pt x="536258" y="562478"/>
                  </a:lnTo>
                  <a:lnTo>
                    <a:pt x="538734" y="562478"/>
                  </a:lnTo>
                  <a:lnTo>
                    <a:pt x="538734" y="552382"/>
                  </a:lnTo>
                  <a:lnTo>
                    <a:pt x="542449" y="561049"/>
                  </a:lnTo>
                  <a:lnTo>
                    <a:pt x="545020" y="561049"/>
                  </a:lnTo>
                  <a:lnTo>
                    <a:pt x="548735" y="552382"/>
                  </a:lnTo>
                  <a:lnTo>
                    <a:pt x="548735" y="562478"/>
                  </a:lnTo>
                  <a:close/>
                </a:path>
              </a:pathLst>
            </a:custGeom>
            <a:solidFill>
              <a:srgbClr val="F79E1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57563774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Divider Graphic - 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2"/>
          <p:cNvSpPr>
            <a:spLocks noGrp="1"/>
          </p:cNvSpPr>
          <p:nvPr>
            <p:ph type="body" idx="1" hasCustomPrompt="1"/>
          </p:nvPr>
        </p:nvSpPr>
        <p:spPr bwMode="gray">
          <a:xfrm>
            <a:off x="164593" y="292608"/>
            <a:ext cx="4198001" cy="321562"/>
          </a:xfrm>
        </p:spPr>
        <p:txBody>
          <a:bodyPr/>
          <a:lstStyle>
            <a:lvl1pPr marL="0" indent="0">
              <a:buNone/>
              <a:defRPr sz="1600" b="1">
                <a:solidFill>
                  <a:srgbClr val="FFFFFF"/>
                </a:solidFill>
                <a:latin typeface="Mark Offc For MC" panose="020B0504020101010102" pitchFamily="34" charset="0"/>
              </a:defRPr>
            </a:lvl1pPr>
            <a:lvl2pPr marL="342891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783" indent="0">
              <a:buNone/>
              <a:defRPr sz="1351">
                <a:solidFill>
                  <a:schemeClr val="tx1">
                    <a:tint val="75000"/>
                  </a:schemeClr>
                </a:solidFill>
              </a:defRPr>
            </a:lvl3pPr>
            <a:lvl4pPr marL="1028674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566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457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349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24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131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add section number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164594" y="723696"/>
            <a:ext cx="4198001" cy="1034129"/>
          </a:xfrm>
        </p:spPr>
        <p:txBody>
          <a:bodyPr anchor="t" anchorCtr="0"/>
          <a:lstStyle>
            <a:lvl1pPr>
              <a:defRPr sz="3400" b="0">
                <a:solidFill>
                  <a:srgbClr val="FFFFFF"/>
                </a:solidFill>
                <a:latin typeface="Mark Offc For MC Extra Light" panose="020B0404020101010102" pitchFamily="34" charset="0"/>
              </a:defRPr>
            </a:lvl1pPr>
          </a:lstStyle>
          <a:p>
            <a:r>
              <a:rPr lang="en-US" dirty="0"/>
              <a:t>Click to add section title</a:t>
            </a:r>
          </a:p>
        </p:txBody>
      </p:sp>
      <p:grpSp>
        <p:nvGrpSpPr>
          <p:cNvPr id="12" name="Graphic 9">
            <a:extLst>
              <a:ext uri="{FF2B5EF4-FFF2-40B4-BE49-F238E27FC236}">
                <a16:creationId xmlns:a16="http://schemas.microsoft.com/office/drawing/2014/main" id="{835165F6-C617-48D4-88BD-8DAB507BC64F}"/>
              </a:ext>
            </a:extLst>
          </p:cNvPr>
          <p:cNvGrpSpPr>
            <a:grpSpLocks noChangeAspect="1"/>
          </p:cNvGrpSpPr>
          <p:nvPr userDrawn="1"/>
        </p:nvGrpSpPr>
        <p:grpSpPr bwMode="gray">
          <a:xfrm>
            <a:off x="8288899" y="258318"/>
            <a:ext cx="595440" cy="370757"/>
            <a:chOff x="248864" y="1309239"/>
            <a:chExt cx="1116830" cy="695406"/>
          </a:xfrm>
        </p:grpSpPr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325E62B0-9698-40CD-98C6-5E76706D8EEE}"/>
                </a:ext>
              </a:extLst>
            </p:cNvPr>
            <p:cNvSpPr/>
            <p:nvPr/>
          </p:nvSpPr>
          <p:spPr bwMode="gray">
            <a:xfrm>
              <a:off x="653702" y="1382595"/>
              <a:ext cx="314326" cy="552451"/>
            </a:xfrm>
            <a:custGeom>
              <a:avLst/>
              <a:gdLst>
                <a:gd name="connsiteX0" fmla="*/ 7144 w 314325"/>
                <a:gd name="connsiteY0" fmla="*/ 7144 h 552450"/>
                <a:gd name="connsiteX1" fmla="*/ 307181 w 314325"/>
                <a:gd name="connsiteY1" fmla="*/ 7144 h 552450"/>
                <a:gd name="connsiteX2" fmla="*/ 307181 w 314325"/>
                <a:gd name="connsiteY2" fmla="*/ 546354 h 552450"/>
                <a:gd name="connsiteX3" fmla="*/ 7144 w 314325"/>
                <a:gd name="connsiteY3" fmla="*/ 546354 h 552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14325" h="552450">
                  <a:moveTo>
                    <a:pt x="7144" y="7144"/>
                  </a:moveTo>
                  <a:lnTo>
                    <a:pt x="307181" y="7144"/>
                  </a:lnTo>
                  <a:lnTo>
                    <a:pt x="307181" y="546354"/>
                  </a:lnTo>
                  <a:lnTo>
                    <a:pt x="7144" y="546354"/>
                  </a:lnTo>
                  <a:close/>
                </a:path>
              </a:pathLst>
            </a:custGeom>
            <a:solidFill>
              <a:srgbClr val="FF5F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/>
              <a:endParaRPr lang="en-US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551BD7A6-CF8A-491C-A7B1-3AC7F0BAC2CD}"/>
                </a:ext>
              </a:extLst>
            </p:cNvPr>
            <p:cNvSpPr/>
            <p:nvPr/>
          </p:nvSpPr>
          <p:spPr bwMode="gray">
            <a:xfrm>
              <a:off x="248864" y="1309239"/>
              <a:ext cx="561975" cy="695324"/>
            </a:xfrm>
            <a:custGeom>
              <a:avLst/>
              <a:gdLst>
                <a:gd name="connsiteX0" fmla="*/ 431031 w 561975"/>
                <a:gd name="connsiteY0" fmla="*/ 350058 h 695325"/>
                <a:gd name="connsiteX1" fmla="*/ 562000 w 561975"/>
                <a:gd name="connsiteY1" fmla="*/ 80501 h 695325"/>
                <a:gd name="connsiteX2" fmla="*/ 80501 w 561975"/>
                <a:gd name="connsiteY2" fmla="*/ 138117 h 695325"/>
                <a:gd name="connsiteX3" fmla="*/ 138117 w 561975"/>
                <a:gd name="connsiteY3" fmla="*/ 619616 h 695325"/>
                <a:gd name="connsiteX4" fmla="*/ 562000 w 561975"/>
                <a:gd name="connsiteY4" fmla="*/ 619616 h 695325"/>
                <a:gd name="connsiteX5" fmla="*/ 431031 w 561975"/>
                <a:gd name="connsiteY5" fmla="*/ 350058 h 6953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61975" h="695325">
                  <a:moveTo>
                    <a:pt x="431031" y="350058"/>
                  </a:moveTo>
                  <a:cubicBezTo>
                    <a:pt x="430905" y="244845"/>
                    <a:pt x="479209" y="145428"/>
                    <a:pt x="562000" y="80501"/>
                  </a:cubicBezTo>
                  <a:cubicBezTo>
                    <a:pt x="413127" y="-36551"/>
                    <a:pt x="197553" y="-10756"/>
                    <a:pt x="80501" y="138117"/>
                  </a:cubicBezTo>
                  <a:cubicBezTo>
                    <a:pt x="-36551" y="286989"/>
                    <a:pt x="-10756" y="502564"/>
                    <a:pt x="138117" y="619616"/>
                  </a:cubicBezTo>
                  <a:cubicBezTo>
                    <a:pt x="262491" y="717406"/>
                    <a:pt x="437626" y="717406"/>
                    <a:pt x="562000" y="619616"/>
                  </a:cubicBezTo>
                  <a:cubicBezTo>
                    <a:pt x="479209" y="554688"/>
                    <a:pt x="430905" y="455272"/>
                    <a:pt x="431031" y="350058"/>
                  </a:cubicBezTo>
                  <a:close/>
                </a:path>
              </a:pathLst>
            </a:custGeom>
            <a:solidFill>
              <a:srgbClr val="EB001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/>
              <a:endParaRPr lang="en-US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182A0427-CDA9-4104-80E0-62E1A331DB94}"/>
                </a:ext>
              </a:extLst>
            </p:cNvPr>
            <p:cNvSpPr/>
            <p:nvPr/>
          </p:nvSpPr>
          <p:spPr bwMode="gray">
            <a:xfrm>
              <a:off x="803719" y="1309321"/>
              <a:ext cx="561975" cy="695324"/>
            </a:xfrm>
            <a:custGeom>
              <a:avLst/>
              <a:gdLst>
                <a:gd name="connsiteX0" fmla="*/ 561880 w 561975"/>
                <a:gd name="connsiteY0" fmla="*/ 349975 h 695325"/>
                <a:gd name="connsiteX1" fmla="*/ 218897 w 561975"/>
                <a:gd name="connsiteY1" fmla="*/ 692793 h 695325"/>
                <a:gd name="connsiteX2" fmla="*/ 7144 w 561975"/>
                <a:gd name="connsiteY2" fmla="*/ 619533 h 695325"/>
                <a:gd name="connsiteX3" fmla="*/ 64760 w 561975"/>
                <a:gd name="connsiteY3" fmla="*/ 138034 h 695325"/>
                <a:gd name="connsiteX4" fmla="*/ 7144 w 561975"/>
                <a:gd name="connsiteY4" fmla="*/ 80418 h 695325"/>
                <a:gd name="connsiteX5" fmla="*/ 488620 w 561975"/>
                <a:gd name="connsiteY5" fmla="*/ 138222 h 695325"/>
                <a:gd name="connsiteX6" fmla="*/ 561880 w 561975"/>
                <a:gd name="connsiteY6" fmla="*/ 349975 h 695325"/>
                <a:gd name="connsiteX7" fmla="*/ 529209 w 561975"/>
                <a:gd name="connsiteY7" fmla="*/ 562478 h 695325"/>
                <a:gd name="connsiteX8" fmla="*/ 529209 w 561975"/>
                <a:gd name="connsiteY8" fmla="*/ 551429 h 695325"/>
                <a:gd name="connsiteX9" fmla="*/ 533686 w 561975"/>
                <a:gd name="connsiteY9" fmla="*/ 551429 h 695325"/>
                <a:gd name="connsiteX10" fmla="*/ 533686 w 561975"/>
                <a:gd name="connsiteY10" fmla="*/ 549143 h 695325"/>
                <a:gd name="connsiteX11" fmla="*/ 522446 w 561975"/>
                <a:gd name="connsiteY11" fmla="*/ 549143 h 695325"/>
                <a:gd name="connsiteX12" fmla="*/ 522446 w 561975"/>
                <a:gd name="connsiteY12" fmla="*/ 551429 h 695325"/>
                <a:gd name="connsiteX13" fmla="*/ 526828 w 561975"/>
                <a:gd name="connsiteY13" fmla="*/ 551429 h 695325"/>
                <a:gd name="connsiteX14" fmla="*/ 526828 w 561975"/>
                <a:gd name="connsiteY14" fmla="*/ 562478 h 695325"/>
                <a:gd name="connsiteX15" fmla="*/ 551212 w 561975"/>
                <a:gd name="connsiteY15" fmla="*/ 562478 h 695325"/>
                <a:gd name="connsiteX16" fmla="*/ 551212 w 561975"/>
                <a:gd name="connsiteY16" fmla="*/ 549143 h 695325"/>
                <a:gd name="connsiteX17" fmla="*/ 547687 w 561975"/>
                <a:gd name="connsiteY17" fmla="*/ 549143 h 695325"/>
                <a:gd name="connsiteX18" fmla="*/ 543687 w 561975"/>
                <a:gd name="connsiteY18" fmla="*/ 558668 h 695325"/>
                <a:gd name="connsiteX19" fmla="*/ 539686 w 561975"/>
                <a:gd name="connsiteY19" fmla="*/ 549143 h 695325"/>
                <a:gd name="connsiteX20" fmla="*/ 536258 w 561975"/>
                <a:gd name="connsiteY20" fmla="*/ 549143 h 695325"/>
                <a:gd name="connsiteX21" fmla="*/ 536258 w 561975"/>
                <a:gd name="connsiteY21" fmla="*/ 562478 h 695325"/>
                <a:gd name="connsiteX22" fmla="*/ 538734 w 561975"/>
                <a:gd name="connsiteY22" fmla="*/ 562478 h 695325"/>
                <a:gd name="connsiteX23" fmla="*/ 538734 w 561975"/>
                <a:gd name="connsiteY23" fmla="*/ 552382 h 695325"/>
                <a:gd name="connsiteX24" fmla="*/ 542449 w 561975"/>
                <a:gd name="connsiteY24" fmla="*/ 561049 h 695325"/>
                <a:gd name="connsiteX25" fmla="*/ 545020 w 561975"/>
                <a:gd name="connsiteY25" fmla="*/ 561049 h 695325"/>
                <a:gd name="connsiteX26" fmla="*/ 548735 w 561975"/>
                <a:gd name="connsiteY26" fmla="*/ 552382 h 695325"/>
                <a:gd name="connsiteX27" fmla="*/ 548735 w 561975"/>
                <a:gd name="connsiteY27" fmla="*/ 562478 h 6953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561975" h="695325">
                  <a:moveTo>
                    <a:pt x="561880" y="349975"/>
                  </a:moveTo>
                  <a:cubicBezTo>
                    <a:pt x="561834" y="539354"/>
                    <a:pt x="408276" y="692838"/>
                    <a:pt x="218897" y="692793"/>
                  </a:cubicBezTo>
                  <a:cubicBezTo>
                    <a:pt x="142100" y="692774"/>
                    <a:pt x="67533" y="666976"/>
                    <a:pt x="7144" y="619533"/>
                  </a:cubicBezTo>
                  <a:cubicBezTo>
                    <a:pt x="156016" y="502481"/>
                    <a:pt x="181812" y="286906"/>
                    <a:pt x="64760" y="138034"/>
                  </a:cubicBezTo>
                  <a:cubicBezTo>
                    <a:pt x="47913" y="116607"/>
                    <a:pt x="28571" y="97265"/>
                    <a:pt x="7144" y="80418"/>
                  </a:cubicBezTo>
                  <a:cubicBezTo>
                    <a:pt x="156062" y="-36576"/>
                    <a:pt x="371626" y="-10696"/>
                    <a:pt x="488620" y="138222"/>
                  </a:cubicBezTo>
                  <a:cubicBezTo>
                    <a:pt x="536063" y="198612"/>
                    <a:pt x="561861" y="273179"/>
                    <a:pt x="561880" y="349975"/>
                  </a:cubicBezTo>
                  <a:close/>
                  <a:moveTo>
                    <a:pt x="529209" y="562478"/>
                  </a:moveTo>
                  <a:lnTo>
                    <a:pt x="529209" y="551429"/>
                  </a:lnTo>
                  <a:lnTo>
                    <a:pt x="533686" y="551429"/>
                  </a:lnTo>
                  <a:lnTo>
                    <a:pt x="533686" y="549143"/>
                  </a:lnTo>
                  <a:lnTo>
                    <a:pt x="522446" y="549143"/>
                  </a:lnTo>
                  <a:lnTo>
                    <a:pt x="522446" y="551429"/>
                  </a:lnTo>
                  <a:lnTo>
                    <a:pt x="526828" y="551429"/>
                  </a:lnTo>
                  <a:lnTo>
                    <a:pt x="526828" y="562478"/>
                  </a:lnTo>
                  <a:close/>
                  <a:moveTo>
                    <a:pt x="551212" y="562478"/>
                  </a:moveTo>
                  <a:lnTo>
                    <a:pt x="551212" y="549143"/>
                  </a:lnTo>
                  <a:lnTo>
                    <a:pt x="547687" y="549143"/>
                  </a:lnTo>
                  <a:lnTo>
                    <a:pt x="543687" y="558668"/>
                  </a:lnTo>
                  <a:lnTo>
                    <a:pt x="539686" y="549143"/>
                  </a:lnTo>
                  <a:lnTo>
                    <a:pt x="536258" y="549143"/>
                  </a:lnTo>
                  <a:lnTo>
                    <a:pt x="536258" y="562478"/>
                  </a:lnTo>
                  <a:lnTo>
                    <a:pt x="538734" y="562478"/>
                  </a:lnTo>
                  <a:lnTo>
                    <a:pt x="538734" y="552382"/>
                  </a:lnTo>
                  <a:lnTo>
                    <a:pt x="542449" y="561049"/>
                  </a:lnTo>
                  <a:lnTo>
                    <a:pt x="545020" y="561049"/>
                  </a:lnTo>
                  <a:lnTo>
                    <a:pt x="548735" y="552382"/>
                  </a:lnTo>
                  <a:lnTo>
                    <a:pt x="548735" y="562478"/>
                  </a:lnTo>
                  <a:close/>
                </a:path>
              </a:pathLst>
            </a:custGeom>
            <a:solidFill>
              <a:srgbClr val="F79E1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97932964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Divider Graphic -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2"/>
          <p:cNvSpPr>
            <a:spLocks noGrp="1"/>
          </p:cNvSpPr>
          <p:nvPr>
            <p:ph type="body" idx="1" hasCustomPrompt="1"/>
          </p:nvPr>
        </p:nvSpPr>
        <p:spPr bwMode="gray">
          <a:xfrm>
            <a:off x="164593" y="292608"/>
            <a:ext cx="4198001" cy="321562"/>
          </a:xfrm>
        </p:spPr>
        <p:txBody>
          <a:bodyPr/>
          <a:lstStyle>
            <a:lvl1pPr marL="0" indent="0">
              <a:buNone/>
              <a:defRPr sz="1600" b="1">
                <a:solidFill>
                  <a:schemeClr val="tx1"/>
                </a:solidFill>
                <a:latin typeface="Mark Offc For MC" panose="020B0504020101010102" pitchFamily="34" charset="0"/>
              </a:defRPr>
            </a:lvl1pPr>
            <a:lvl2pPr marL="342891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783" indent="0">
              <a:buNone/>
              <a:defRPr sz="1351">
                <a:solidFill>
                  <a:schemeClr val="tx1">
                    <a:tint val="75000"/>
                  </a:schemeClr>
                </a:solidFill>
              </a:defRPr>
            </a:lvl3pPr>
            <a:lvl4pPr marL="1028674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566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457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349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24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131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add section number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164594" y="726671"/>
            <a:ext cx="4198001" cy="1034129"/>
          </a:xfrm>
        </p:spPr>
        <p:txBody>
          <a:bodyPr anchor="t" anchorCtr="0"/>
          <a:lstStyle>
            <a:lvl1pPr>
              <a:defRPr sz="3400" b="0">
                <a:solidFill>
                  <a:schemeClr val="tx1"/>
                </a:solidFill>
                <a:latin typeface="Mark Offc For MC Extra Light" panose="020B0404020101010102" pitchFamily="34" charset="0"/>
              </a:defRPr>
            </a:lvl1pPr>
          </a:lstStyle>
          <a:p>
            <a:r>
              <a:rPr lang="en-US" dirty="0"/>
              <a:t>Click to add section title</a:t>
            </a:r>
          </a:p>
        </p:txBody>
      </p:sp>
      <p:grpSp>
        <p:nvGrpSpPr>
          <p:cNvPr id="12" name="Graphic 9">
            <a:extLst>
              <a:ext uri="{FF2B5EF4-FFF2-40B4-BE49-F238E27FC236}">
                <a16:creationId xmlns:a16="http://schemas.microsoft.com/office/drawing/2014/main" id="{B96E7C20-9D5B-4B22-8E28-AA0C8A79B1D5}"/>
              </a:ext>
            </a:extLst>
          </p:cNvPr>
          <p:cNvGrpSpPr>
            <a:grpSpLocks noChangeAspect="1"/>
          </p:cNvGrpSpPr>
          <p:nvPr userDrawn="1"/>
        </p:nvGrpSpPr>
        <p:grpSpPr bwMode="gray">
          <a:xfrm>
            <a:off x="8288899" y="258318"/>
            <a:ext cx="595440" cy="370757"/>
            <a:chOff x="248864" y="1309239"/>
            <a:chExt cx="1116830" cy="695406"/>
          </a:xfrm>
        </p:grpSpPr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D917C018-D808-4F4A-89EC-7FB08C50DEC6}"/>
                </a:ext>
              </a:extLst>
            </p:cNvPr>
            <p:cNvSpPr/>
            <p:nvPr/>
          </p:nvSpPr>
          <p:spPr bwMode="gray">
            <a:xfrm>
              <a:off x="653702" y="1382595"/>
              <a:ext cx="314326" cy="552451"/>
            </a:xfrm>
            <a:custGeom>
              <a:avLst/>
              <a:gdLst>
                <a:gd name="connsiteX0" fmla="*/ 7144 w 314325"/>
                <a:gd name="connsiteY0" fmla="*/ 7144 h 552450"/>
                <a:gd name="connsiteX1" fmla="*/ 307181 w 314325"/>
                <a:gd name="connsiteY1" fmla="*/ 7144 h 552450"/>
                <a:gd name="connsiteX2" fmla="*/ 307181 w 314325"/>
                <a:gd name="connsiteY2" fmla="*/ 546354 h 552450"/>
                <a:gd name="connsiteX3" fmla="*/ 7144 w 314325"/>
                <a:gd name="connsiteY3" fmla="*/ 546354 h 552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14325" h="552450">
                  <a:moveTo>
                    <a:pt x="7144" y="7144"/>
                  </a:moveTo>
                  <a:lnTo>
                    <a:pt x="307181" y="7144"/>
                  </a:lnTo>
                  <a:lnTo>
                    <a:pt x="307181" y="546354"/>
                  </a:lnTo>
                  <a:lnTo>
                    <a:pt x="7144" y="546354"/>
                  </a:lnTo>
                  <a:close/>
                </a:path>
              </a:pathLst>
            </a:custGeom>
            <a:solidFill>
              <a:srgbClr val="FF5F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/>
              <a:endParaRPr lang="en-US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8A234C8A-EDFE-44F9-B336-B874D8FBCFF4}"/>
                </a:ext>
              </a:extLst>
            </p:cNvPr>
            <p:cNvSpPr/>
            <p:nvPr/>
          </p:nvSpPr>
          <p:spPr bwMode="gray">
            <a:xfrm>
              <a:off x="248864" y="1309239"/>
              <a:ext cx="561975" cy="695324"/>
            </a:xfrm>
            <a:custGeom>
              <a:avLst/>
              <a:gdLst>
                <a:gd name="connsiteX0" fmla="*/ 431031 w 561975"/>
                <a:gd name="connsiteY0" fmla="*/ 350058 h 695325"/>
                <a:gd name="connsiteX1" fmla="*/ 562000 w 561975"/>
                <a:gd name="connsiteY1" fmla="*/ 80501 h 695325"/>
                <a:gd name="connsiteX2" fmla="*/ 80501 w 561975"/>
                <a:gd name="connsiteY2" fmla="*/ 138117 h 695325"/>
                <a:gd name="connsiteX3" fmla="*/ 138117 w 561975"/>
                <a:gd name="connsiteY3" fmla="*/ 619616 h 695325"/>
                <a:gd name="connsiteX4" fmla="*/ 562000 w 561975"/>
                <a:gd name="connsiteY4" fmla="*/ 619616 h 695325"/>
                <a:gd name="connsiteX5" fmla="*/ 431031 w 561975"/>
                <a:gd name="connsiteY5" fmla="*/ 350058 h 6953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61975" h="695325">
                  <a:moveTo>
                    <a:pt x="431031" y="350058"/>
                  </a:moveTo>
                  <a:cubicBezTo>
                    <a:pt x="430905" y="244845"/>
                    <a:pt x="479209" y="145428"/>
                    <a:pt x="562000" y="80501"/>
                  </a:cubicBezTo>
                  <a:cubicBezTo>
                    <a:pt x="413127" y="-36551"/>
                    <a:pt x="197553" y="-10756"/>
                    <a:pt x="80501" y="138117"/>
                  </a:cubicBezTo>
                  <a:cubicBezTo>
                    <a:pt x="-36551" y="286989"/>
                    <a:pt x="-10756" y="502564"/>
                    <a:pt x="138117" y="619616"/>
                  </a:cubicBezTo>
                  <a:cubicBezTo>
                    <a:pt x="262491" y="717406"/>
                    <a:pt x="437626" y="717406"/>
                    <a:pt x="562000" y="619616"/>
                  </a:cubicBezTo>
                  <a:cubicBezTo>
                    <a:pt x="479209" y="554688"/>
                    <a:pt x="430905" y="455272"/>
                    <a:pt x="431031" y="350058"/>
                  </a:cubicBezTo>
                  <a:close/>
                </a:path>
              </a:pathLst>
            </a:custGeom>
            <a:solidFill>
              <a:srgbClr val="EB001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/>
              <a:endParaRPr lang="en-US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15233F1A-C03B-4B5A-A406-CC4E8F93C8B4}"/>
                </a:ext>
              </a:extLst>
            </p:cNvPr>
            <p:cNvSpPr/>
            <p:nvPr/>
          </p:nvSpPr>
          <p:spPr bwMode="gray">
            <a:xfrm>
              <a:off x="803719" y="1309321"/>
              <a:ext cx="561975" cy="695324"/>
            </a:xfrm>
            <a:custGeom>
              <a:avLst/>
              <a:gdLst>
                <a:gd name="connsiteX0" fmla="*/ 561880 w 561975"/>
                <a:gd name="connsiteY0" fmla="*/ 349975 h 695325"/>
                <a:gd name="connsiteX1" fmla="*/ 218897 w 561975"/>
                <a:gd name="connsiteY1" fmla="*/ 692793 h 695325"/>
                <a:gd name="connsiteX2" fmla="*/ 7144 w 561975"/>
                <a:gd name="connsiteY2" fmla="*/ 619533 h 695325"/>
                <a:gd name="connsiteX3" fmla="*/ 64760 w 561975"/>
                <a:gd name="connsiteY3" fmla="*/ 138034 h 695325"/>
                <a:gd name="connsiteX4" fmla="*/ 7144 w 561975"/>
                <a:gd name="connsiteY4" fmla="*/ 80418 h 695325"/>
                <a:gd name="connsiteX5" fmla="*/ 488620 w 561975"/>
                <a:gd name="connsiteY5" fmla="*/ 138222 h 695325"/>
                <a:gd name="connsiteX6" fmla="*/ 561880 w 561975"/>
                <a:gd name="connsiteY6" fmla="*/ 349975 h 695325"/>
                <a:gd name="connsiteX7" fmla="*/ 529209 w 561975"/>
                <a:gd name="connsiteY7" fmla="*/ 562478 h 695325"/>
                <a:gd name="connsiteX8" fmla="*/ 529209 w 561975"/>
                <a:gd name="connsiteY8" fmla="*/ 551429 h 695325"/>
                <a:gd name="connsiteX9" fmla="*/ 533686 w 561975"/>
                <a:gd name="connsiteY9" fmla="*/ 551429 h 695325"/>
                <a:gd name="connsiteX10" fmla="*/ 533686 w 561975"/>
                <a:gd name="connsiteY10" fmla="*/ 549143 h 695325"/>
                <a:gd name="connsiteX11" fmla="*/ 522446 w 561975"/>
                <a:gd name="connsiteY11" fmla="*/ 549143 h 695325"/>
                <a:gd name="connsiteX12" fmla="*/ 522446 w 561975"/>
                <a:gd name="connsiteY12" fmla="*/ 551429 h 695325"/>
                <a:gd name="connsiteX13" fmla="*/ 526828 w 561975"/>
                <a:gd name="connsiteY13" fmla="*/ 551429 h 695325"/>
                <a:gd name="connsiteX14" fmla="*/ 526828 w 561975"/>
                <a:gd name="connsiteY14" fmla="*/ 562478 h 695325"/>
                <a:gd name="connsiteX15" fmla="*/ 551212 w 561975"/>
                <a:gd name="connsiteY15" fmla="*/ 562478 h 695325"/>
                <a:gd name="connsiteX16" fmla="*/ 551212 w 561975"/>
                <a:gd name="connsiteY16" fmla="*/ 549143 h 695325"/>
                <a:gd name="connsiteX17" fmla="*/ 547687 w 561975"/>
                <a:gd name="connsiteY17" fmla="*/ 549143 h 695325"/>
                <a:gd name="connsiteX18" fmla="*/ 543687 w 561975"/>
                <a:gd name="connsiteY18" fmla="*/ 558668 h 695325"/>
                <a:gd name="connsiteX19" fmla="*/ 539686 w 561975"/>
                <a:gd name="connsiteY19" fmla="*/ 549143 h 695325"/>
                <a:gd name="connsiteX20" fmla="*/ 536258 w 561975"/>
                <a:gd name="connsiteY20" fmla="*/ 549143 h 695325"/>
                <a:gd name="connsiteX21" fmla="*/ 536258 w 561975"/>
                <a:gd name="connsiteY21" fmla="*/ 562478 h 695325"/>
                <a:gd name="connsiteX22" fmla="*/ 538734 w 561975"/>
                <a:gd name="connsiteY22" fmla="*/ 562478 h 695325"/>
                <a:gd name="connsiteX23" fmla="*/ 538734 w 561975"/>
                <a:gd name="connsiteY23" fmla="*/ 552382 h 695325"/>
                <a:gd name="connsiteX24" fmla="*/ 542449 w 561975"/>
                <a:gd name="connsiteY24" fmla="*/ 561049 h 695325"/>
                <a:gd name="connsiteX25" fmla="*/ 545020 w 561975"/>
                <a:gd name="connsiteY25" fmla="*/ 561049 h 695325"/>
                <a:gd name="connsiteX26" fmla="*/ 548735 w 561975"/>
                <a:gd name="connsiteY26" fmla="*/ 552382 h 695325"/>
                <a:gd name="connsiteX27" fmla="*/ 548735 w 561975"/>
                <a:gd name="connsiteY27" fmla="*/ 562478 h 6953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561975" h="695325">
                  <a:moveTo>
                    <a:pt x="561880" y="349975"/>
                  </a:moveTo>
                  <a:cubicBezTo>
                    <a:pt x="561834" y="539354"/>
                    <a:pt x="408276" y="692838"/>
                    <a:pt x="218897" y="692793"/>
                  </a:cubicBezTo>
                  <a:cubicBezTo>
                    <a:pt x="142100" y="692774"/>
                    <a:pt x="67533" y="666976"/>
                    <a:pt x="7144" y="619533"/>
                  </a:cubicBezTo>
                  <a:cubicBezTo>
                    <a:pt x="156016" y="502481"/>
                    <a:pt x="181812" y="286906"/>
                    <a:pt x="64760" y="138034"/>
                  </a:cubicBezTo>
                  <a:cubicBezTo>
                    <a:pt x="47913" y="116607"/>
                    <a:pt x="28571" y="97265"/>
                    <a:pt x="7144" y="80418"/>
                  </a:cubicBezTo>
                  <a:cubicBezTo>
                    <a:pt x="156062" y="-36576"/>
                    <a:pt x="371626" y="-10696"/>
                    <a:pt x="488620" y="138222"/>
                  </a:cubicBezTo>
                  <a:cubicBezTo>
                    <a:pt x="536063" y="198612"/>
                    <a:pt x="561861" y="273179"/>
                    <a:pt x="561880" y="349975"/>
                  </a:cubicBezTo>
                  <a:close/>
                  <a:moveTo>
                    <a:pt x="529209" y="562478"/>
                  </a:moveTo>
                  <a:lnTo>
                    <a:pt x="529209" y="551429"/>
                  </a:lnTo>
                  <a:lnTo>
                    <a:pt x="533686" y="551429"/>
                  </a:lnTo>
                  <a:lnTo>
                    <a:pt x="533686" y="549143"/>
                  </a:lnTo>
                  <a:lnTo>
                    <a:pt x="522446" y="549143"/>
                  </a:lnTo>
                  <a:lnTo>
                    <a:pt x="522446" y="551429"/>
                  </a:lnTo>
                  <a:lnTo>
                    <a:pt x="526828" y="551429"/>
                  </a:lnTo>
                  <a:lnTo>
                    <a:pt x="526828" y="562478"/>
                  </a:lnTo>
                  <a:close/>
                  <a:moveTo>
                    <a:pt x="551212" y="562478"/>
                  </a:moveTo>
                  <a:lnTo>
                    <a:pt x="551212" y="549143"/>
                  </a:lnTo>
                  <a:lnTo>
                    <a:pt x="547687" y="549143"/>
                  </a:lnTo>
                  <a:lnTo>
                    <a:pt x="543687" y="558668"/>
                  </a:lnTo>
                  <a:lnTo>
                    <a:pt x="539686" y="549143"/>
                  </a:lnTo>
                  <a:lnTo>
                    <a:pt x="536258" y="549143"/>
                  </a:lnTo>
                  <a:lnTo>
                    <a:pt x="536258" y="562478"/>
                  </a:lnTo>
                  <a:lnTo>
                    <a:pt x="538734" y="562478"/>
                  </a:lnTo>
                  <a:lnTo>
                    <a:pt x="538734" y="552382"/>
                  </a:lnTo>
                  <a:lnTo>
                    <a:pt x="542449" y="561049"/>
                  </a:lnTo>
                  <a:lnTo>
                    <a:pt x="545020" y="561049"/>
                  </a:lnTo>
                  <a:lnTo>
                    <a:pt x="548735" y="552382"/>
                  </a:lnTo>
                  <a:lnTo>
                    <a:pt x="548735" y="562478"/>
                  </a:lnTo>
                  <a:close/>
                </a:path>
              </a:pathLst>
            </a:custGeom>
            <a:solidFill>
              <a:srgbClr val="F79E1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51458962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Divider Custom Image - 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3"/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0" y="0"/>
            <a:ext cx="4572000" cy="5143500"/>
          </a:xfrm>
        </p:spPr>
        <p:txBody>
          <a:bodyPr bIns="2011680" anchor="b" anchorCtr="0"/>
          <a:lstStyle>
            <a:lvl1pPr marL="0" indent="0" algn="ctr">
              <a:buNone/>
              <a:defRPr sz="1200">
                <a:solidFill>
                  <a:srgbClr val="B9B9B9"/>
                </a:solidFill>
                <a:latin typeface="+mn-lt"/>
              </a:defRPr>
            </a:lvl1pPr>
          </a:lstStyle>
          <a:p>
            <a:r>
              <a:rPr lang="en-US" dirty="0"/>
              <a:t>Click icon to add image.</a:t>
            </a:r>
            <a:br>
              <a:rPr lang="en-US" dirty="0"/>
            </a:br>
            <a:r>
              <a:rPr lang="en-US" dirty="0"/>
              <a:t>Get </a:t>
            </a:r>
            <a:r>
              <a:rPr lang="en-US" dirty="0" err="1"/>
              <a:t>Mastercard</a:t>
            </a:r>
            <a:r>
              <a:rPr lang="en-US" dirty="0"/>
              <a:t> approved photography and</a:t>
            </a:r>
            <a:br>
              <a:rPr lang="en-US" dirty="0"/>
            </a:br>
            <a:r>
              <a:rPr lang="en-US" dirty="0"/>
              <a:t>imagery guidelines at designcenter.mastercard.com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4735302" y="1627632"/>
            <a:ext cx="4198001" cy="1034129"/>
          </a:xfrm>
        </p:spPr>
        <p:txBody>
          <a:bodyPr anchor="t" anchorCtr="0"/>
          <a:lstStyle>
            <a:lvl1pPr>
              <a:defRPr sz="3400" b="0">
                <a:solidFill>
                  <a:srgbClr val="FFFFFF"/>
                </a:solidFill>
                <a:latin typeface="Mark Offc For MC Extra Light" panose="020B0404020101010102" pitchFamily="34" charset="0"/>
              </a:defRPr>
            </a:lvl1pPr>
          </a:lstStyle>
          <a:p>
            <a:r>
              <a:rPr lang="en-US" dirty="0"/>
              <a:t>Click to add section title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9AA6011C-9C86-479C-B246-782AA50C00B6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 bwMode="gray">
          <a:xfrm>
            <a:off x="4736593" y="292608"/>
            <a:ext cx="2560320" cy="321562"/>
          </a:xfrm>
        </p:spPr>
        <p:txBody>
          <a:bodyPr/>
          <a:lstStyle>
            <a:lvl1pPr marL="0" indent="0">
              <a:buNone/>
              <a:defRPr sz="1600" b="1">
                <a:solidFill>
                  <a:srgbClr val="FFFFFF"/>
                </a:solidFill>
                <a:latin typeface="Mark Offc For MC" panose="020B0504020101010102" pitchFamily="34" charset="0"/>
              </a:defRPr>
            </a:lvl1pPr>
            <a:lvl2pPr marL="342891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783" indent="0">
              <a:buNone/>
              <a:defRPr sz="1351">
                <a:solidFill>
                  <a:schemeClr val="tx1">
                    <a:tint val="75000"/>
                  </a:schemeClr>
                </a:solidFill>
              </a:defRPr>
            </a:lvl3pPr>
            <a:lvl4pPr marL="1028674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566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457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349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24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131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add section number</a:t>
            </a:r>
          </a:p>
        </p:txBody>
      </p:sp>
      <p:grpSp>
        <p:nvGrpSpPr>
          <p:cNvPr id="15" name="Graphic 9">
            <a:extLst>
              <a:ext uri="{FF2B5EF4-FFF2-40B4-BE49-F238E27FC236}">
                <a16:creationId xmlns:a16="http://schemas.microsoft.com/office/drawing/2014/main" id="{12B85802-BB39-4C5D-A505-1607C4D030E9}"/>
              </a:ext>
            </a:extLst>
          </p:cNvPr>
          <p:cNvGrpSpPr>
            <a:grpSpLocks noChangeAspect="1"/>
          </p:cNvGrpSpPr>
          <p:nvPr userDrawn="1"/>
        </p:nvGrpSpPr>
        <p:grpSpPr bwMode="gray">
          <a:xfrm>
            <a:off x="8288899" y="258318"/>
            <a:ext cx="595440" cy="370757"/>
            <a:chOff x="248864" y="1309239"/>
            <a:chExt cx="1116830" cy="695406"/>
          </a:xfrm>
        </p:grpSpPr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52F22D6E-0EEA-49F1-90F5-07F1770A122C}"/>
                </a:ext>
              </a:extLst>
            </p:cNvPr>
            <p:cNvSpPr/>
            <p:nvPr/>
          </p:nvSpPr>
          <p:spPr bwMode="gray">
            <a:xfrm>
              <a:off x="653702" y="1382595"/>
              <a:ext cx="314326" cy="552451"/>
            </a:xfrm>
            <a:custGeom>
              <a:avLst/>
              <a:gdLst>
                <a:gd name="connsiteX0" fmla="*/ 7144 w 314325"/>
                <a:gd name="connsiteY0" fmla="*/ 7144 h 552450"/>
                <a:gd name="connsiteX1" fmla="*/ 307181 w 314325"/>
                <a:gd name="connsiteY1" fmla="*/ 7144 h 552450"/>
                <a:gd name="connsiteX2" fmla="*/ 307181 w 314325"/>
                <a:gd name="connsiteY2" fmla="*/ 546354 h 552450"/>
                <a:gd name="connsiteX3" fmla="*/ 7144 w 314325"/>
                <a:gd name="connsiteY3" fmla="*/ 546354 h 552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14325" h="552450">
                  <a:moveTo>
                    <a:pt x="7144" y="7144"/>
                  </a:moveTo>
                  <a:lnTo>
                    <a:pt x="307181" y="7144"/>
                  </a:lnTo>
                  <a:lnTo>
                    <a:pt x="307181" y="546354"/>
                  </a:lnTo>
                  <a:lnTo>
                    <a:pt x="7144" y="546354"/>
                  </a:lnTo>
                  <a:close/>
                </a:path>
              </a:pathLst>
            </a:custGeom>
            <a:solidFill>
              <a:srgbClr val="FF5F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/>
              <a:endParaRPr lang="en-US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337D5DE4-5B24-402B-B21C-66683008D4C8}"/>
                </a:ext>
              </a:extLst>
            </p:cNvPr>
            <p:cNvSpPr/>
            <p:nvPr/>
          </p:nvSpPr>
          <p:spPr bwMode="gray">
            <a:xfrm>
              <a:off x="248864" y="1309239"/>
              <a:ext cx="561975" cy="695324"/>
            </a:xfrm>
            <a:custGeom>
              <a:avLst/>
              <a:gdLst>
                <a:gd name="connsiteX0" fmla="*/ 431031 w 561975"/>
                <a:gd name="connsiteY0" fmla="*/ 350058 h 695325"/>
                <a:gd name="connsiteX1" fmla="*/ 562000 w 561975"/>
                <a:gd name="connsiteY1" fmla="*/ 80501 h 695325"/>
                <a:gd name="connsiteX2" fmla="*/ 80501 w 561975"/>
                <a:gd name="connsiteY2" fmla="*/ 138117 h 695325"/>
                <a:gd name="connsiteX3" fmla="*/ 138117 w 561975"/>
                <a:gd name="connsiteY3" fmla="*/ 619616 h 695325"/>
                <a:gd name="connsiteX4" fmla="*/ 562000 w 561975"/>
                <a:gd name="connsiteY4" fmla="*/ 619616 h 695325"/>
                <a:gd name="connsiteX5" fmla="*/ 431031 w 561975"/>
                <a:gd name="connsiteY5" fmla="*/ 350058 h 6953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61975" h="695325">
                  <a:moveTo>
                    <a:pt x="431031" y="350058"/>
                  </a:moveTo>
                  <a:cubicBezTo>
                    <a:pt x="430905" y="244845"/>
                    <a:pt x="479209" y="145428"/>
                    <a:pt x="562000" y="80501"/>
                  </a:cubicBezTo>
                  <a:cubicBezTo>
                    <a:pt x="413127" y="-36551"/>
                    <a:pt x="197553" y="-10756"/>
                    <a:pt x="80501" y="138117"/>
                  </a:cubicBezTo>
                  <a:cubicBezTo>
                    <a:pt x="-36551" y="286989"/>
                    <a:pt x="-10756" y="502564"/>
                    <a:pt x="138117" y="619616"/>
                  </a:cubicBezTo>
                  <a:cubicBezTo>
                    <a:pt x="262491" y="717406"/>
                    <a:pt x="437626" y="717406"/>
                    <a:pt x="562000" y="619616"/>
                  </a:cubicBezTo>
                  <a:cubicBezTo>
                    <a:pt x="479209" y="554688"/>
                    <a:pt x="430905" y="455272"/>
                    <a:pt x="431031" y="350058"/>
                  </a:cubicBezTo>
                  <a:close/>
                </a:path>
              </a:pathLst>
            </a:custGeom>
            <a:solidFill>
              <a:srgbClr val="EB001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/>
              <a:endParaRPr lang="en-US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B9222EFE-0F64-4BE7-87F0-0BD8C2C50551}"/>
                </a:ext>
              </a:extLst>
            </p:cNvPr>
            <p:cNvSpPr/>
            <p:nvPr/>
          </p:nvSpPr>
          <p:spPr bwMode="gray">
            <a:xfrm>
              <a:off x="803719" y="1309321"/>
              <a:ext cx="561975" cy="695324"/>
            </a:xfrm>
            <a:custGeom>
              <a:avLst/>
              <a:gdLst>
                <a:gd name="connsiteX0" fmla="*/ 561880 w 561975"/>
                <a:gd name="connsiteY0" fmla="*/ 349975 h 695325"/>
                <a:gd name="connsiteX1" fmla="*/ 218897 w 561975"/>
                <a:gd name="connsiteY1" fmla="*/ 692793 h 695325"/>
                <a:gd name="connsiteX2" fmla="*/ 7144 w 561975"/>
                <a:gd name="connsiteY2" fmla="*/ 619533 h 695325"/>
                <a:gd name="connsiteX3" fmla="*/ 64760 w 561975"/>
                <a:gd name="connsiteY3" fmla="*/ 138034 h 695325"/>
                <a:gd name="connsiteX4" fmla="*/ 7144 w 561975"/>
                <a:gd name="connsiteY4" fmla="*/ 80418 h 695325"/>
                <a:gd name="connsiteX5" fmla="*/ 488620 w 561975"/>
                <a:gd name="connsiteY5" fmla="*/ 138222 h 695325"/>
                <a:gd name="connsiteX6" fmla="*/ 561880 w 561975"/>
                <a:gd name="connsiteY6" fmla="*/ 349975 h 695325"/>
                <a:gd name="connsiteX7" fmla="*/ 529209 w 561975"/>
                <a:gd name="connsiteY7" fmla="*/ 562478 h 695325"/>
                <a:gd name="connsiteX8" fmla="*/ 529209 w 561975"/>
                <a:gd name="connsiteY8" fmla="*/ 551429 h 695325"/>
                <a:gd name="connsiteX9" fmla="*/ 533686 w 561975"/>
                <a:gd name="connsiteY9" fmla="*/ 551429 h 695325"/>
                <a:gd name="connsiteX10" fmla="*/ 533686 w 561975"/>
                <a:gd name="connsiteY10" fmla="*/ 549143 h 695325"/>
                <a:gd name="connsiteX11" fmla="*/ 522446 w 561975"/>
                <a:gd name="connsiteY11" fmla="*/ 549143 h 695325"/>
                <a:gd name="connsiteX12" fmla="*/ 522446 w 561975"/>
                <a:gd name="connsiteY12" fmla="*/ 551429 h 695325"/>
                <a:gd name="connsiteX13" fmla="*/ 526828 w 561975"/>
                <a:gd name="connsiteY13" fmla="*/ 551429 h 695325"/>
                <a:gd name="connsiteX14" fmla="*/ 526828 w 561975"/>
                <a:gd name="connsiteY14" fmla="*/ 562478 h 695325"/>
                <a:gd name="connsiteX15" fmla="*/ 551212 w 561975"/>
                <a:gd name="connsiteY15" fmla="*/ 562478 h 695325"/>
                <a:gd name="connsiteX16" fmla="*/ 551212 w 561975"/>
                <a:gd name="connsiteY16" fmla="*/ 549143 h 695325"/>
                <a:gd name="connsiteX17" fmla="*/ 547687 w 561975"/>
                <a:gd name="connsiteY17" fmla="*/ 549143 h 695325"/>
                <a:gd name="connsiteX18" fmla="*/ 543687 w 561975"/>
                <a:gd name="connsiteY18" fmla="*/ 558668 h 695325"/>
                <a:gd name="connsiteX19" fmla="*/ 539686 w 561975"/>
                <a:gd name="connsiteY19" fmla="*/ 549143 h 695325"/>
                <a:gd name="connsiteX20" fmla="*/ 536258 w 561975"/>
                <a:gd name="connsiteY20" fmla="*/ 549143 h 695325"/>
                <a:gd name="connsiteX21" fmla="*/ 536258 w 561975"/>
                <a:gd name="connsiteY21" fmla="*/ 562478 h 695325"/>
                <a:gd name="connsiteX22" fmla="*/ 538734 w 561975"/>
                <a:gd name="connsiteY22" fmla="*/ 562478 h 695325"/>
                <a:gd name="connsiteX23" fmla="*/ 538734 w 561975"/>
                <a:gd name="connsiteY23" fmla="*/ 552382 h 695325"/>
                <a:gd name="connsiteX24" fmla="*/ 542449 w 561975"/>
                <a:gd name="connsiteY24" fmla="*/ 561049 h 695325"/>
                <a:gd name="connsiteX25" fmla="*/ 545020 w 561975"/>
                <a:gd name="connsiteY25" fmla="*/ 561049 h 695325"/>
                <a:gd name="connsiteX26" fmla="*/ 548735 w 561975"/>
                <a:gd name="connsiteY26" fmla="*/ 552382 h 695325"/>
                <a:gd name="connsiteX27" fmla="*/ 548735 w 561975"/>
                <a:gd name="connsiteY27" fmla="*/ 562478 h 6953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561975" h="695325">
                  <a:moveTo>
                    <a:pt x="561880" y="349975"/>
                  </a:moveTo>
                  <a:cubicBezTo>
                    <a:pt x="561834" y="539354"/>
                    <a:pt x="408276" y="692838"/>
                    <a:pt x="218897" y="692793"/>
                  </a:cubicBezTo>
                  <a:cubicBezTo>
                    <a:pt x="142100" y="692774"/>
                    <a:pt x="67533" y="666976"/>
                    <a:pt x="7144" y="619533"/>
                  </a:cubicBezTo>
                  <a:cubicBezTo>
                    <a:pt x="156016" y="502481"/>
                    <a:pt x="181812" y="286906"/>
                    <a:pt x="64760" y="138034"/>
                  </a:cubicBezTo>
                  <a:cubicBezTo>
                    <a:pt x="47913" y="116607"/>
                    <a:pt x="28571" y="97265"/>
                    <a:pt x="7144" y="80418"/>
                  </a:cubicBezTo>
                  <a:cubicBezTo>
                    <a:pt x="156062" y="-36576"/>
                    <a:pt x="371626" y="-10696"/>
                    <a:pt x="488620" y="138222"/>
                  </a:cubicBezTo>
                  <a:cubicBezTo>
                    <a:pt x="536063" y="198612"/>
                    <a:pt x="561861" y="273179"/>
                    <a:pt x="561880" y="349975"/>
                  </a:cubicBezTo>
                  <a:close/>
                  <a:moveTo>
                    <a:pt x="529209" y="562478"/>
                  </a:moveTo>
                  <a:lnTo>
                    <a:pt x="529209" y="551429"/>
                  </a:lnTo>
                  <a:lnTo>
                    <a:pt x="533686" y="551429"/>
                  </a:lnTo>
                  <a:lnTo>
                    <a:pt x="533686" y="549143"/>
                  </a:lnTo>
                  <a:lnTo>
                    <a:pt x="522446" y="549143"/>
                  </a:lnTo>
                  <a:lnTo>
                    <a:pt x="522446" y="551429"/>
                  </a:lnTo>
                  <a:lnTo>
                    <a:pt x="526828" y="551429"/>
                  </a:lnTo>
                  <a:lnTo>
                    <a:pt x="526828" y="562478"/>
                  </a:lnTo>
                  <a:close/>
                  <a:moveTo>
                    <a:pt x="551212" y="562478"/>
                  </a:moveTo>
                  <a:lnTo>
                    <a:pt x="551212" y="549143"/>
                  </a:lnTo>
                  <a:lnTo>
                    <a:pt x="547687" y="549143"/>
                  </a:lnTo>
                  <a:lnTo>
                    <a:pt x="543687" y="558668"/>
                  </a:lnTo>
                  <a:lnTo>
                    <a:pt x="539686" y="549143"/>
                  </a:lnTo>
                  <a:lnTo>
                    <a:pt x="536258" y="549143"/>
                  </a:lnTo>
                  <a:lnTo>
                    <a:pt x="536258" y="562478"/>
                  </a:lnTo>
                  <a:lnTo>
                    <a:pt x="538734" y="562478"/>
                  </a:lnTo>
                  <a:lnTo>
                    <a:pt x="538734" y="552382"/>
                  </a:lnTo>
                  <a:lnTo>
                    <a:pt x="542449" y="561049"/>
                  </a:lnTo>
                  <a:lnTo>
                    <a:pt x="545020" y="561049"/>
                  </a:lnTo>
                  <a:lnTo>
                    <a:pt x="548735" y="552382"/>
                  </a:lnTo>
                  <a:lnTo>
                    <a:pt x="548735" y="562478"/>
                  </a:lnTo>
                  <a:close/>
                </a:path>
              </a:pathLst>
            </a:custGeom>
            <a:solidFill>
              <a:srgbClr val="F79E1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903322266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Divider Custom Image -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3"/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0" y="0"/>
            <a:ext cx="4572000" cy="5143500"/>
          </a:xfrm>
        </p:spPr>
        <p:txBody>
          <a:bodyPr bIns="2011680" anchor="b" anchorCtr="0"/>
          <a:lstStyle>
            <a:lvl1pPr marL="0" indent="0" algn="ctr">
              <a:buNone/>
              <a:defRPr sz="1200">
                <a:solidFill>
                  <a:srgbClr val="B9B9B9"/>
                </a:solidFill>
                <a:latin typeface="+mn-lt"/>
              </a:defRPr>
            </a:lvl1pPr>
          </a:lstStyle>
          <a:p>
            <a:r>
              <a:rPr lang="en-US" dirty="0"/>
              <a:t>Click icon to add image.</a:t>
            </a:r>
            <a:br>
              <a:rPr lang="en-US" dirty="0"/>
            </a:br>
            <a:r>
              <a:rPr lang="en-US" dirty="0"/>
              <a:t>Get </a:t>
            </a:r>
            <a:r>
              <a:rPr lang="en-US" dirty="0" err="1"/>
              <a:t>Mastercard</a:t>
            </a:r>
            <a:r>
              <a:rPr lang="en-US" dirty="0"/>
              <a:t> approved photography and</a:t>
            </a:r>
            <a:br>
              <a:rPr lang="en-US" dirty="0"/>
            </a:br>
            <a:r>
              <a:rPr lang="en-US" dirty="0"/>
              <a:t>imagery guidelines at designcenter.mastercard.com.</a:t>
            </a:r>
          </a:p>
        </p:txBody>
      </p:sp>
      <p:sp>
        <p:nvSpPr>
          <p:cNvPr id="5" name="Text Placeholder 2"/>
          <p:cNvSpPr>
            <a:spLocks noGrp="1"/>
          </p:cNvSpPr>
          <p:nvPr>
            <p:ph type="body" idx="1" hasCustomPrompt="1"/>
          </p:nvPr>
        </p:nvSpPr>
        <p:spPr bwMode="gray">
          <a:xfrm>
            <a:off x="4736593" y="292608"/>
            <a:ext cx="2560320" cy="321562"/>
          </a:xfrm>
        </p:spPr>
        <p:txBody>
          <a:bodyPr/>
          <a:lstStyle>
            <a:lvl1pPr marL="0" indent="0">
              <a:buNone/>
              <a:defRPr sz="1600" b="1">
                <a:solidFill>
                  <a:schemeClr val="tx1"/>
                </a:solidFill>
                <a:latin typeface="Mark Offc For MC" panose="020B0504020101010102" pitchFamily="34" charset="0"/>
              </a:defRPr>
            </a:lvl1pPr>
            <a:lvl2pPr marL="342891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783" indent="0">
              <a:buNone/>
              <a:defRPr sz="1351">
                <a:solidFill>
                  <a:schemeClr val="tx1">
                    <a:tint val="75000"/>
                  </a:schemeClr>
                </a:solidFill>
              </a:defRPr>
            </a:lvl3pPr>
            <a:lvl4pPr marL="1028674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566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457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349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24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131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add section number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4736594" y="1627632"/>
            <a:ext cx="4198001" cy="1034129"/>
          </a:xfrm>
        </p:spPr>
        <p:txBody>
          <a:bodyPr anchor="t" anchorCtr="0"/>
          <a:lstStyle>
            <a:lvl1pPr>
              <a:defRPr sz="3400" b="0">
                <a:solidFill>
                  <a:schemeClr val="tx1"/>
                </a:solidFill>
                <a:latin typeface="Mark Offc For MC Extra Light" panose="020B0404020101010102" pitchFamily="34" charset="0"/>
              </a:defRPr>
            </a:lvl1pPr>
          </a:lstStyle>
          <a:p>
            <a:r>
              <a:rPr lang="en-US" dirty="0"/>
              <a:t>Click to add section title</a:t>
            </a:r>
          </a:p>
        </p:txBody>
      </p:sp>
      <p:grpSp>
        <p:nvGrpSpPr>
          <p:cNvPr id="14" name="Graphic 9">
            <a:extLst>
              <a:ext uri="{FF2B5EF4-FFF2-40B4-BE49-F238E27FC236}">
                <a16:creationId xmlns:a16="http://schemas.microsoft.com/office/drawing/2014/main" id="{A997D84B-8700-4048-9AFB-D2EE18AAB3F5}"/>
              </a:ext>
            </a:extLst>
          </p:cNvPr>
          <p:cNvGrpSpPr>
            <a:grpSpLocks noChangeAspect="1"/>
          </p:cNvGrpSpPr>
          <p:nvPr userDrawn="1"/>
        </p:nvGrpSpPr>
        <p:grpSpPr bwMode="gray">
          <a:xfrm>
            <a:off x="8288899" y="258318"/>
            <a:ext cx="595440" cy="370757"/>
            <a:chOff x="248864" y="1309239"/>
            <a:chExt cx="1116830" cy="695406"/>
          </a:xfrm>
        </p:grpSpPr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D6B1EA1D-AF85-4582-B713-59B65B319019}"/>
                </a:ext>
              </a:extLst>
            </p:cNvPr>
            <p:cNvSpPr/>
            <p:nvPr/>
          </p:nvSpPr>
          <p:spPr bwMode="gray">
            <a:xfrm>
              <a:off x="653702" y="1382595"/>
              <a:ext cx="314326" cy="552451"/>
            </a:xfrm>
            <a:custGeom>
              <a:avLst/>
              <a:gdLst>
                <a:gd name="connsiteX0" fmla="*/ 7144 w 314325"/>
                <a:gd name="connsiteY0" fmla="*/ 7144 h 552450"/>
                <a:gd name="connsiteX1" fmla="*/ 307181 w 314325"/>
                <a:gd name="connsiteY1" fmla="*/ 7144 h 552450"/>
                <a:gd name="connsiteX2" fmla="*/ 307181 w 314325"/>
                <a:gd name="connsiteY2" fmla="*/ 546354 h 552450"/>
                <a:gd name="connsiteX3" fmla="*/ 7144 w 314325"/>
                <a:gd name="connsiteY3" fmla="*/ 546354 h 552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14325" h="552450">
                  <a:moveTo>
                    <a:pt x="7144" y="7144"/>
                  </a:moveTo>
                  <a:lnTo>
                    <a:pt x="307181" y="7144"/>
                  </a:lnTo>
                  <a:lnTo>
                    <a:pt x="307181" y="546354"/>
                  </a:lnTo>
                  <a:lnTo>
                    <a:pt x="7144" y="546354"/>
                  </a:lnTo>
                  <a:close/>
                </a:path>
              </a:pathLst>
            </a:custGeom>
            <a:solidFill>
              <a:srgbClr val="FF5F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/>
              <a:endParaRPr lang="en-US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98CE11EF-BDAB-4188-9F79-B9A1F623891D}"/>
                </a:ext>
              </a:extLst>
            </p:cNvPr>
            <p:cNvSpPr/>
            <p:nvPr/>
          </p:nvSpPr>
          <p:spPr bwMode="gray">
            <a:xfrm>
              <a:off x="248864" y="1309239"/>
              <a:ext cx="561975" cy="695324"/>
            </a:xfrm>
            <a:custGeom>
              <a:avLst/>
              <a:gdLst>
                <a:gd name="connsiteX0" fmla="*/ 431031 w 561975"/>
                <a:gd name="connsiteY0" fmla="*/ 350058 h 695325"/>
                <a:gd name="connsiteX1" fmla="*/ 562000 w 561975"/>
                <a:gd name="connsiteY1" fmla="*/ 80501 h 695325"/>
                <a:gd name="connsiteX2" fmla="*/ 80501 w 561975"/>
                <a:gd name="connsiteY2" fmla="*/ 138117 h 695325"/>
                <a:gd name="connsiteX3" fmla="*/ 138117 w 561975"/>
                <a:gd name="connsiteY3" fmla="*/ 619616 h 695325"/>
                <a:gd name="connsiteX4" fmla="*/ 562000 w 561975"/>
                <a:gd name="connsiteY4" fmla="*/ 619616 h 695325"/>
                <a:gd name="connsiteX5" fmla="*/ 431031 w 561975"/>
                <a:gd name="connsiteY5" fmla="*/ 350058 h 6953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61975" h="695325">
                  <a:moveTo>
                    <a:pt x="431031" y="350058"/>
                  </a:moveTo>
                  <a:cubicBezTo>
                    <a:pt x="430905" y="244845"/>
                    <a:pt x="479209" y="145428"/>
                    <a:pt x="562000" y="80501"/>
                  </a:cubicBezTo>
                  <a:cubicBezTo>
                    <a:pt x="413127" y="-36551"/>
                    <a:pt x="197553" y="-10756"/>
                    <a:pt x="80501" y="138117"/>
                  </a:cubicBezTo>
                  <a:cubicBezTo>
                    <a:pt x="-36551" y="286989"/>
                    <a:pt x="-10756" y="502564"/>
                    <a:pt x="138117" y="619616"/>
                  </a:cubicBezTo>
                  <a:cubicBezTo>
                    <a:pt x="262491" y="717406"/>
                    <a:pt x="437626" y="717406"/>
                    <a:pt x="562000" y="619616"/>
                  </a:cubicBezTo>
                  <a:cubicBezTo>
                    <a:pt x="479209" y="554688"/>
                    <a:pt x="430905" y="455272"/>
                    <a:pt x="431031" y="350058"/>
                  </a:cubicBezTo>
                  <a:close/>
                </a:path>
              </a:pathLst>
            </a:custGeom>
            <a:solidFill>
              <a:srgbClr val="EB001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/>
              <a:endParaRPr lang="en-US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06FB5709-A4E1-44C9-AF52-CBCBBC9D5711}"/>
                </a:ext>
              </a:extLst>
            </p:cNvPr>
            <p:cNvSpPr/>
            <p:nvPr/>
          </p:nvSpPr>
          <p:spPr bwMode="gray">
            <a:xfrm>
              <a:off x="803719" y="1309321"/>
              <a:ext cx="561975" cy="695324"/>
            </a:xfrm>
            <a:custGeom>
              <a:avLst/>
              <a:gdLst>
                <a:gd name="connsiteX0" fmla="*/ 561880 w 561975"/>
                <a:gd name="connsiteY0" fmla="*/ 349975 h 695325"/>
                <a:gd name="connsiteX1" fmla="*/ 218897 w 561975"/>
                <a:gd name="connsiteY1" fmla="*/ 692793 h 695325"/>
                <a:gd name="connsiteX2" fmla="*/ 7144 w 561975"/>
                <a:gd name="connsiteY2" fmla="*/ 619533 h 695325"/>
                <a:gd name="connsiteX3" fmla="*/ 64760 w 561975"/>
                <a:gd name="connsiteY3" fmla="*/ 138034 h 695325"/>
                <a:gd name="connsiteX4" fmla="*/ 7144 w 561975"/>
                <a:gd name="connsiteY4" fmla="*/ 80418 h 695325"/>
                <a:gd name="connsiteX5" fmla="*/ 488620 w 561975"/>
                <a:gd name="connsiteY5" fmla="*/ 138222 h 695325"/>
                <a:gd name="connsiteX6" fmla="*/ 561880 w 561975"/>
                <a:gd name="connsiteY6" fmla="*/ 349975 h 695325"/>
                <a:gd name="connsiteX7" fmla="*/ 529209 w 561975"/>
                <a:gd name="connsiteY7" fmla="*/ 562478 h 695325"/>
                <a:gd name="connsiteX8" fmla="*/ 529209 w 561975"/>
                <a:gd name="connsiteY8" fmla="*/ 551429 h 695325"/>
                <a:gd name="connsiteX9" fmla="*/ 533686 w 561975"/>
                <a:gd name="connsiteY9" fmla="*/ 551429 h 695325"/>
                <a:gd name="connsiteX10" fmla="*/ 533686 w 561975"/>
                <a:gd name="connsiteY10" fmla="*/ 549143 h 695325"/>
                <a:gd name="connsiteX11" fmla="*/ 522446 w 561975"/>
                <a:gd name="connsiteY11" fmla="*/ 549143 h 695325"/>
                <a:gd name="connsiteX12" fmla="*/ 522446 w 561975"/>
                <a:gd name="connsiteY12" fmla="*/ 551429 h 695325"/>
                <a:gd name="connsiteX13" fmla="*/ 526828 w 561975"/>
                <a:gd name="connsiteY13" fmla="*/ 551429 h 695325"/>
                <a:gd name="connsiteX14" fmla="*/ 526828 w 561975"/>
                <a:gd name="connsiteY14" fmla="*/ 562478 h 695325"/>
                <a:gd name="connsiteX15" fmla="*/ 551212 w 561975"/>
                <a:gd name="connsiteY15" fmla="*/ 562478 h 695325"/>
                <a:gd name="connsiteX16" fmla="*/ 551212 w 561975"/>
                <a:gd name="connsiteY16" fmla="*/ 549143 h 695325"/>
                <a:gd name="connsiteX17" fmla="*/ 547687 w 561975"/>
                <a:gd name="connsiteY17" fmla="*/ 549143 h 695325"/>
                <a:gd name="connsiteX18" fmla="*/ 543687 w 561975"/>
                <a:gd name="connsiteY18" fmla="*/ 558668 h 695325"/>
                <a:gd name="connsiteX19" fmla="*/ 539686 w 561975"/>
                <a:gd name="connsiteY19" fmla="*/ 549143 h 695325"/>
                <a:gd name="connsiteX20" fmla="*/ 536258 w 561975"/>
                <a:gd name="connsiteY20" fmla="*/ 549143 h 695325"/>
                <a:gd name="connsiteX21" fmla="*/ 536258 w 561975"/>
                <a:gd name="connsiteY21" fmla="*/ 562478 h 695325"/>
                <a:gd name="connsiteX22" fmla="*/ 538734 w 561975"/>
                <a:gd name="connsiteY22" fmla="*/ 562478 h 695325"/>
                <a:gd name="connsiteX23" fmla="*/ 538734 w 561975"/>
                <a:gd name="connsiteY23" fmla="*/ 552382 h 695325"/>
                <a:gd name="connsiteX24" fmla="*/ 542449 w 561975"/>
                <a:gd name="connsiteY24" fmla="*/ 561049 h 695325"/>
                <a:gd name="connsiteX25" fmla="*/ 545020 w 561975"/>
                <a:gd name="connsiteY25" fmla="*/ 561049 h 695325"/>
                <a:gd name="connsiteX26" fmla="*/ 548735 w 561975"/>
                <a:gd name="connsiteY26" fmla="*/ 552382 h 695325"/>
                <a:gd name="connsiteX27" fmla="*/ 548735 w 561975"/>
                <a:gd name="connsiteY27" fmla="*/ 562478 h 6953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561975" h="695325">
                  <a:moveTo>
                    <a:pt x="561880" y="349975"/>
                  </a:moveTo>
                  <a:cubicBezTo>
                    <a:pt x="561834" y="539354"/>
                    <a:pt x="408276" y="692838"/>
                    <a:pt x="218897" y="692793"/>
                  </a:cubicBezTo>
                  <a:cubicBezTo>
                    <a:pt x="142100" y="692774"/>
                    <a:pt x="67533" y="666976"/>
                    <a:pt x="7144" y="619533"/>
                  </a:cubicBezTo>
                  <a:cubicBezTo>
                    <a:pt x="156016" y="502481"/>
                    <a:pt x="181812" y="286906"/>
                    <a:pt x="64760" y="138034"/>
                  </a:cubicBezTo>
                  <a:cubicBezTo>
                    <a:pt x="47913" y="116607"/>
                    <a:pt x="28571" y="97265"/>
                    <a:pt x="7144" y="80418"/>
                  </a:cubicBezTo>
                  <a:cubicBezTo>
                    <a:pt x="156062" y="-36576"/>
                    <a:pt x="371626" y="-10696"/>
                    <a:pt x="488620" y="138222"/>
                  </a:cubicBezTo>
                  <a:cubicBezTo>
                    <a:pt x="536063" y="198612"/>
                    <a:pt x="561861" y="273179"/>
                    <a:pt x="561880" y="349975"/>
                  </a:cubicBezTo>
                  <a:close/>
                  <a:moveTo>
                    <a:pt x="529209" y="562478"/>
                  </a:moveTo>
                  <a:lnTo>
                    <a:pt x="529209" y="551429"/>
                  </a:lnTo>
                  <a:lnTo>
                    <a:pt x="533686" y="551429"/>
                  </a:lnTo>
                  <a:lnTo>
                    <a:pt x="533686" y="549143"/>
                  </a:lnTo>
                  <a:lnTo>
                    <a:pt x="522446" y="549143"/>
                  </a:lnTo>
                  <a:lnTo>
                    <a:pt x="522446" y="551429"/>
                  </a:lnTo>
                  <a:lnTo>
                    <a:pt x="526828" y="551429"/>
                  </a:lnTo>
                  <a:lnTo>
                    <a:pt x="526828" y="562478"/>
                  </a:lnTo>
                  <a:close/>
                  <a:moveTo>
                    <a:pt x="551212" y="562478"/>
                  </a:moveTo>
                  <a:lnTo>
                    <a:pt x="551212" y="549143"/>
                  </a:lnTo>
                  <a:lnTo>
                    <a:pt x="547687" y="549143"/>
                  </a:lnTo>
                  <a:lnTo>
                    <a:pt x="543687" y="558668"/>
                  </a:lnTo>
                  <a:lnTo>
                    <a:pt x="539686" y="549143"/>
                  </a:lnTo>
                  <a:lnTo>
                    <a:pt x="536258" y="549143"/>
                  </a:lnTo>
                  <a:lnTo>
                    <a:pt x="536258" y="562478"/>
                  </a:lnTo>
                  <a:lnTo>
                    <a:pt x="538734" y="562478"/>
                  </a:lnTo>
                  <a:lnTo>
                    <a:pt x="538734" y="552382"/>
                  </a:lnTo>
                  <a:lnTo>
                    <a:pt x="542449" y="561049"/>
                  </a:lnTo>
                  <a:lnTo>
                    <a:pt x="545020" y="561049"/>
                  </a:lnTo>
                  <a:lnTo>
                    <a:pt x="548735" y="552382"/>
                  </a:lnTo>
                  <a:lnTo>
                    <a:pt x="548735" y="562478"/>
                  </a:lnTo>
                  <a:close/>
                </a:path>
              </a:pathLst>
            </a:custGeom>
            <a:solidFill>
              <a:srgbClr val="F79E1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736844939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Divider LG Custom Image - 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3">
            <a:extLst>
              <a:ext uri="{FF2B5EF4-FFF2-40B4-BE49-F238E27FC236}">
                <a16:creationId xmlns:a16="http://schemas.microsoft.com/office/drawing/2014/main" id="{49907014-6222-48C8-8BF4-F1CD909E9091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0" y="0"/>
            <a:ext cx="9144000" cy="5143500"/>
          </a:xfrm>
        </p:spPr>
        <p:txBody>
          <a:bodyPr bIns="2011680" anchor="b" anchorCtr="0"/>
          <a:lstStyle>
            <a:lvl1pPr marL="0" indent="0" algn="ctr">
              <a:buNone/>
              <a:defRPr sz="1200">
                <a:solidFill>
                  <a:srgbClr val="B9B9B9"/>
                </a:solidFill>
                <a:latin typeface="+mn-lt"/>
              </a:defRPr>
            </a:lvl1pPr>
          </a:lstStyle>
          <a:p>
            <a:r>
              <a:rPr lang="en-US" dirty="0"/>
              <a:t>Click icon to add image.</a:t>
            </a:r>
            <a:br>
              <a:rPr lang="en-US" dirty="0"/>
            </a:br>
            <a:r>
              <a:rPr lang="en-US" dirty="0"/>
              <a:t>Get </a:t>
            </a:r>
            <a:r>
              <a:rPr lang="en-US" dirty="0" err="1"/>
              <a:t>Mastercard</a:t>
            </a:r>
            <a:r>
              <a:rPr lang="en-US" dirty="0"/>
              <a:t> approved photography and</a:t>
            </a:r>
            <a:br>
              <a:rPr lang="en-US" dirty="0"/>
            </a:br>
            <a:r>
              <a:rPr lang="en-US" dirty="0"/>
              <a:t>imagery guidelines at designcenter.mastercard.com.</a:t>
            </a:r>
          </a:p>
        </p:txBody>
      </p:sp>
      <p:sp>
        <p:nvSpPr>
          <p:cNvPr id="13" name="Text Placeholder 2"/>
          <p:cNvSpPr>
            <a:spLocks noGrp="1"/>
          </p:cNvSpPr>
          <p:nvPr>
            <p:ph type="body" idx="1" hasCustomPrompt="1"/>
          </p:nvPr>
        </p:nvSpPr>
        <p:spPr bwMode="gray">
          <a:xfrm>
            <a:off x="164593" y="292608"/>
            <a:ext cx="4198001" cy="321562"/>
          </a:xfrm>
        </p:spPr>
        <p:txBody>
          <a:bodyPr/>
          <a:lstStyle>
            <a:lvl1pPr marL="0" indent="0">
              <a:buNone/>
              <a:defRPr sz="1600" b="1">
                <a:solidFill>
                  <a:srgbClr val="FFFFFF"/>
                </a:solidFill>
                <a:latin typeface="Mark Offc For MC" panose="020B0504020101010102" pitchFamily="34" charset="0"/>
              </a:defRPr>
            </a:lvl1pPr>
            <a:lvl2pPr marL="342891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783" indent="0">
              <a:buNone/>
              <a:defRPr sz="1351">
                <a:solidFill>
                  <a:schemeClr val="tx1">
                    <a:tint val="75000"/>
                  </a:schemeClr>
                </a:solidFill>
              </a:defRPr>
            </a:lvl3pPr>
            <a:lvl4pPr marL="1028674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566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457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349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24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131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add section number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164594" y="723696"/>
            <a:ext cx="4198001" cy="1034129"/>
          </a:xfrm>
        </p:spPr>
        <p:txBody>
          <a:bodyPr anchor="t" anchorCtr="0"/>
          <a:lstStyle>
            <a:lvl1pPr>
              <a:defRPr sz="3400" b="0">
                <a:solidFill>
                  <a:srgbClr val="FFFFFF"/>
                </a:solidFill>
                <a:latin typeface="Mark Offc For MC Extra Light" panose="020B0404020101010102" pitchFamily="34" charset="0"/>
              </a:defRPr>
            </a:lvl1pPr>
          </a:lstStyle>
          <a:p>
            <a:r>
              <a:rPr lang="en-US" dirty="0"/>
              <a:t>Click to add section title</a:t>
            </a:r>
          </a:p>
        </p:txBody>
      </p:sp>
      <p:grpSp>
        <p:nvGrpSpPr>
          <p:cNvPr id="12" name="Graphic 9">
            <a:extLst>
              <a:ext uri="{FF2B5EF4-FFF2-40B4-BE49-F238E27FC236}">
                <a16:creationId xmlns:a16="http://schemas.microsoft.com/office/drawing/2014/main" id="{835165F6-C617-48D4-88BD-8DAB507BC64F}"/>
              </a:ext>
            </a:extLst>
          </p:cNvPr>
          <p:cNvGrpSpPr>
            <a:grpSpLocks noChangeAspect="1"/>
          </p:cNvGrpSpPr>
          <p:nvPr userDrawn="1"/>
        </p:nvGrpSpPr>
        <p:grpSpPr bwMode="gray">
          <a:xfrm>
            <a:off x="8288899" y="258318"/>
            <a:ext cx="595440" cy="370757"/>
            <a:chOff x="248864" y="1309239"/>
            <a:chExt cx="1116830" cy="695406"/>
          </a:xfrm>
        </p:grpSpPr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325E62B0-9698-40CD-98C6-5E76706D8EEE}"/>
                </a:ext>
              </a:extLst>
            </p:cNvPr>
            <p:cNvSpPr/>
            <p:nvPr/>
          </p:nvSpPr>
          <p:spPr bwMode="gray">
            <a:xfrm>
              <a:off x="653702" y="1382595"/>
              <a:ext cx="314326" cy="552451"/>
            </a:xfrm>
            <a:custGeom>
              <a:avLst/>
              <a:gdLst>
                <a:gd name="connsiteX0" fmla="*/ 7144 w 314325"/>
                <a:gd name="connsiteY0" fmla="*/ 7144 h 552450"/>
                <a:gd name="connsiteX1" fmla="*/ 307181 w 314325"/>
                <a:gd name="connsiteY1" fmla="*/ 7144 h 552450"/>
                <a:gd name="connsiteX2" fmla="*/ 307181 w 314325"/>
                <a:gd name="connsiteY2" fmla="*/ 546354 h 552450"/>
                <a:gd name="connsiteX3" fmla="*/ 7144 w 314325"/>
                <a:gd name="connsiteY3" fmla="*/ 546354 h 552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14325" h="552450">
                  <a:moveTo>
                    <a:pt x="7144" y="7144"/>
                  </a:moveTo>
                  <a:lnTo>
                    <a:pt x="307181" y="7144"/>
                  </a:lnTo>
                  <a:lnTo>
                    <a:pt x="307181" y="546354"/>
                  </a:lnTo>
                  <a:lnTo>
                    <a:pt x="7144" y="546354"/>
                  </a:lnTo>
                  <a:close/>
                </a:path>
              </a:pathLst>
            </a:custGeom>
            <a:solidFill>
              <a:srgbClr val="FF5F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/>
              <a:endParaRPr lang="en-US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551BD7A6-CF8A-491C-A7B1-3AC7F0BAC2CD}"/>
                </a:ext>
              </a:extLst>
            </p:cNvPr>
            <p:cNvSpPr/>
            <p:nvPr/>
          </p:nvSpPr>
          <p:spPr bwMode="gray">
            <a:xfrm>
              <a:off x="248864" y="1309239"/>
              <a:ext cx="561975" cy="695324"/>
            </a:xfrm>
            <a:custGeom>
              <a:avLst/>
              <a:gdLst>
                <a:gd name="connsiteX0" fmla="*/ 431031 w 561975"/>
                <a:gd name="connsiteY0" fmla="*/ 350058 h 695325"/>
                <a:gd name="connsiteX1" fmla="*/ 562000 w 561975"/>
                <a:gd name="connsiteY1" fmla="*/ 80501 h 695325"/>
                <a:gd name="connsiteX2" fmla="*/ 80501 w 561975"/>
                <a:gd name="connsiteY2" fmla="*/ 138117 h 695325"/>
                <a:gd name="connsiteX3" fmla="*/ 138117 w 561975"/>
                <a:gd name="connsiteY3" fmla="*/ 619616 h 695325"/>
                <a:gd name="connsiteX4" fmla="*/ 562000 w 561975"/>
                <a:gd name="connsiteY4" fmla="*/ 619616 h 695325"/>
                <a:gd name="connsiteX5" fmla="*/ 431031 w 561975"/>
                <a:gd name="connsiteY5" fmla="*/ 350058 h 6953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61975" h="695325">
                  <a:moveTo>
                    <a:pt x="431031" y="350058"/>
                  </a:moveTo>
                  <a:cubicBezTo>
                    <a:pt x="430905" y="244845"/>
                    <a:pt x="479209" y="145428"/>
                    <a:pt x="562000" y="80501"/>
                  </a:cubicBezTo>
                  <a:cubicBezTo>
                    <a:pt x="413127" y="-36551"/>
                    <a:pt x="197553" y="-10756"/>
                    <a:pt x="80501" y="138117"/>
                  </a:cubicBezTo>
                  <a:cubicBezTo>
                    <a:pt x="-36551" y="286989"/>
                    <a:pt x="-10756" y="502564"/>
                    <a:pt x="138117" y="619616"/>
                  </a:cubicBezTo>
                  <a:cubicBezTo>
                    <a:pt x="262491" y="717406"/>
                    <a:pt x="437626" y="717406"/>
                    <a:pt x="562000" y="619616"/>
                  </a:cubicBezTo>
                  <a:cubicBezTo>
                    <a:pt x="479209" y="554688"/>
                    <a:pt x="430905" y="455272"/>
                    <a:pt x="431031" y="350058"/>
                  </a:cubicBezTo>
                  <a:close/>
                </a:path>
              </a:pathLst>
            </a:custGeom>
            <a:solidFill>
              <a:srgbClr val="EB001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/>
              <a:endParaRPr lang="en-US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182A0427-CDA9-4104-80E0-62E1A331DB94}"/>
                </a:ext>
              </a:extLst>
            </p:cNvPr>
            <p:cNvSpPr/>
            <p:nvPr/>
          </p:nvSpPr>
          <p:spPr bwMode="gray">
            <a:xfrm>
              <a:off x="803719" y="1309321"/>
              <a:ext cx="561975" cy="695324"/>
            </a:xfrm>
            <a:custGeom>
              <a:avLst/>
              <a:gdLst>
                <a:gd name="connsiteX0" fmla="*/ 561880 w 561975"/>
                <a:gd name="connsiteY0" fmla="*/ 349975 h 695325"/>
                <a:gd name="connsiteX1" fmla="*/ 218897 w 561975"/>
                <a:gd name="connsiteY1" fmla="*/ 692793 h 695325"/>
                <a:gd name="connsiteX2" fmla="*/ 7144 w 561975"/>
                <a:gd name="connsiteY2" fmla="*/ 619533 h 695325"/>
                <a:gd name="connsiteX3" fmla="*/ 64760 w 561975"/>
                <a:gd name="connsiteY3" fmla="*/ 138034 h 695325"/>
                <a:gd name="connsiteX4" fmla="*/ 7144 w 561975"/>
                <a:gd name="connsiteY4" fmla="*/ 80418 h 695325"/>
                <a:gd name="connsiteX5" fmla="*/ 488620 w 561975"/>
                <a:gd name="connsiteY5" fmla="*/ 138222 h 695325"/>
                <a:gd name="connsiteX6" fmla="*/ 561880 w 561975"/>
                <a:gd name="connsiteY6" fmla="*/ 349975 h 695325"/>
                <a:gd name="connsiteX7" fmla="*/ 529209 w 561975"/>
                <a:gd name="connsiteY7" fmla="*/ 562478 h 695325"/>
                <a:gd name="connsiteX8" fmla="*/ 529209 w 561975"/>
                <a:gd name="connsiteY8" fmla="*/ 551429 h 695325"/>
                <a:gd name="connsiteX9" fmla="*/ 533686 w 561975"/>
                <a:gd name="connsiteY9" fmla="*/ 551429 h 695325"/>
                <a:gd name="connsiteX10" fmla="*/ 533686 w 561975"/>
                <a:gd name="connsiteY10" fmla="*/ 549143 h 695325"/>
                <a:gd name="connsiteX11" fmla="*/ 522446 w 561975"/>
                <a:gd name="connsiteY11" fmla="*/ 549143 h 695325"/>
                <a:gd name="connsiteX12" fmla="*/ 522446 w 561975"/>
                <a:gd name="connsiteY12" fmla="*/ 551429 h 695325"/>
                <a:gd name="connsiteX13" fmla="*/ 526828 w 561975"/>
                <a:gd name="connsiteY13" fmla="*/ 551429 h 695325"/>
                <a:gd name="connsiteX14" fmla="*/ 526828 w 561975"/>
                <a:gd name="connsiteY14" fmla="*/ 562478 h 695325"/>
                <a:gd name="connsiteX15" fmla="*/ 551212 w 561975"/>
                <a:gd name="connsiteY15" fmla="*/ 562478 h 695325"/>
                <a:gd name="connsiteX16" fmla="*/ 551212 w 561975"/>
                <a:gd name="connsiteY16" fmla="*/ 549143 h 695325"/>
                <a:gd name="connsiteX17" fmla="*/ 547687 w 561975"/>
                <a:gd name="connsiteY17" fmla="*/ 549143 h 695325"/>
                <a:gd name="connsiteX18" fmla="*/ 543687 w 561975"/>
                <a:gd name="connsiteY18" fmla="*/ 558668 h 695325"/>
                <a:gd name="connsiteX19" fmla="*/ 539686 w 561975"/>
                <a:gd name="connsiteY19" fmla="*/ 549143 h 695325"/>
                <a:gd name="connsiteX20" fmla="*/ 536258 w 561975"/>
                <a:gd name="connsiteY20" fmla="*/ 549143 h 695325"/>
                <a:gd name="connsiteX21" fmla="*/ 536258 w 561975"/>
                <a:gd name="connsiteY21" fmla="*/ 562478 h 695325"/>
                <a:gd name="connsiteX22" fmla="*/ 538734 w 561975"/>
                <a:gd name="connsiteY22" fmla="*/ 562478 h 695325"/>
                <a:gd name="connsiteX23" fmla="*/ 538734 w 561975"/>
                <a:gd name="connsiteY23" fmla="*/ 552382 h 695325"/>
                <a:gd name="connsiteX24" fmla="*/ 542449 w 561975"/>
                <a:gd name="connsiteY24" fmla="*/ 561049 h 695325"/>
                <a:gd name="connsiteX25" fmla="*/ 545020 w 561975"/>
                <a:gd name="connsiteY25" fmla="*/ 561049 h 695325"/>
                <a:gd name="connsiteX26" fmla="*/ 548735 w 561975"/>
                <a:gd name="connsiteY26" fmla="*/ 552382 h 695325"/>
                <a:gd name="connsiteX27" fmla="*/ 548735 w 561975"/>
                <a:gd name="connsiteY27" fmla="*/ 562478 h 6953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561975" h="695325">
                  <a:moveTo>
                    <a:pt x="561880" y="349975"/>
                  </a:moveTo>
                  <a:cubicBezTo>
                    <a:pt x="561834" y="539354"/>
                    <a:pt x="408276" y="692838"/>
                    <a:pt x="218897" y="692793"/>
                  </a:cubicBezTo>
                  <a:cubicBezTo>
                    <a:pt x="142100" y="692774"/>
                    <a:pt x="67533" y="666976"/>
                    <a:pt x="7144" y="619533"/>
                  </a:cubicBezTo>
                  <a:cubicBezTo>
                    <a:pt x="156016" y="502481"/>
                    <a:pt x="181812" y="286906"/>
                    <a:pt x="64760" y="138034"/>
                  </a:cubicBezTo>
                  <a:cubicBezTo>
                    <a:pt x="47913" y="116607"/>
                    <a:pt x="28571" y="97265"/>
                    <a:pt x="7144" y="80418"/>
                  </a:cubicBezTo>
                  <a:cubicBezTo>
                    <a:pt x="156062" y="-36576"/>
                    <a:pt x="371626" y="-10696"/>
                    <a:pt x="488620" y="138222"/>
                  </a:cubicBezTo>
                  <a:cubicBezTo>
                    <a:pt x="536063" y="198612"/>
                    <a:pt x="561861" y="273179"/>
                    <a:pt x="561880" y="349975"/>
                  </a:cubicBezTo>
                  <a:close/>
                  <a:moveTo>
                    <a:pt x="529209" y="562478"/>
                  </a:moveTo>
                  <a:lnTo>
                    <a:pt x="529209" y="551429"/>
                  </a:lnTo>
                  <a:lnTo>
                    <a:pt x="533686" y="551429"/>
                  </a:lnTo>
                  <a:lnTo>
                    <a:pt x="533686" y="549143"/>
                  </a:lnTo>
                  <a:lnTo>
                    <a:pt x="522446" y="549143"/>
                  </a:lnTo>
                  <a:lnTo>
                    <a:pt x="522446" y="551429"/>
                  </a:lnTo>
                  <a:lnTo>
                    <a:pt x="526828" y="551429"/>
                  </a:lnTo>
                  <a:lnTo>
                    <a:pt x="526828" y="562478"/>
                  </a:lnTo>
                  <a:close/>
                  <a:moveTo>
                    <a:pt x="551212" y="562478"/>
                  </a:moveTo>
                  <a:lnTo>
                    <a:pt x="551212" y="549143"/>
                  </a:lnTo>
                  <a:lnTo>
                    <a:pt x="547687" y="549143"/>
                  </a:lnTo>
                  <a:lnTo>
                    <a:pt x="543687" y="558668"/>
                  </a:lnTo>
                  <a:lnTo>
                    <a:pt x="539686" y="549143"/>
                  </a:lnTo>
                  <a:lnTo>
                    <a:pt x="536258" y="549143"/>
                  </a:lnTo>
                  <a:lnTo>
                    <a:pt x="536258" y="562478"/>
                  </a:lnTo>
                  <a:lnTo>
                    <a:pt x="538734" y="562478"/>
                  </a:lnTo>
                  <a:lnTo>
                    <a:pt x="538734" y="552382"/>
                  </a:lnTo>
                  <a:lnTo>
                    <a:pt x="542449" y="561049"/>
                  </a:lnTo>
                  <a:lnTo>
                    <a:pt x="545020" y="561049"/>
                  </a:lnTo>
                  <a:lnTo>
                    <a:pt x="548735" y="552382"/>
                  </a:lnTo>
                  <a:lnTo>
                    <a:pt x="548735" y="562478"/>
                  </a:lnTo>
                  <a:close/>
                </a:path>
              </a:pathLst>
            </a:custGeom>
            <a:solidFill>
              <a:srgbClr val="F79E1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971497702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Divider LG Custom Image -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3">
            <a:extLst>
              <a:ext uri="{FF2B5EF4-FFF2-40B4-BE49-F238E27FC236}">
                <a16:creationId xmlns:a16="http://schemas.microsoft.com/office/drawing/2014/main" id="{D68F5605-B119-4D18-B4B6-D5629B44364B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0" y="0"/>
            <a:ext cx="9144000" cy="5143500"/>
          </a:xfrm>
        </p:spPr>
        <p:txBody>
          <a:bodyPr bIns="2011680" anchor="b" anchorCtr="0"/>
          <a:lstStyle>
            <a:lvl1pPr marL="0" indent="0" algn="ctr">
              <a:buNone/>
              <a:defRPr sz="1200">
                <a:solidFill>
                  <a:srgbClr val="B9B9B9"/>
                </a:solidFill>
                <a:latin typeface="+mn-lt"/>
              </a:defRPr>
            </a:lvl1pPr>
          </a:lstStyle>
          <a:p>
            <a:r>
              <a:rPr lang="en-US" dirty="0"/>
              <a:t>Click icon to add image.</a:t>
            </a:r>
            <a:br>
              <a:rPr lang="en-US" dirty="0"/>
            </a:br>
            <a:r>
              <a:rPr lang="en-US" dirty="0"/>
              <a:t>Get </a:t>
            </a:r>
            <a:r>
              <a:rPr lang="en-US" dirty="0" err="1"/>
              <a:t>Mastercard</a:t>
            </a:r>
            <a:r>
              <a:rPr lang="en-US" dirty="0"/>
              <a:t> approved photography and</a:t>
            </a:r>
            <a:br>
              <a:rPr lang="en-US" dirty="0"/>
            </a:br>
            <a:r>
              <a:rPr lang="en-US" dirty="0"/>
              <a:t>imagery guidelines at designcenter.mastercard.com.</a:t>
            </a:r>
          </a:p>
        </p:txBody>
      </p:sp>
      <p:sp>
        <p:nvSpPr>
          <p:cNvPr id="5" name="Text Placeholder 2"/>
          <p:cNvSpPr>
            <a:spLocks noGrp="1"/>
          </p:cNvSpPr>
          <p:nvPr>
            <p:ph type="body" idx="1" hasCustomPrompt="1"/>
          </p:nvPr>
        </p:nvSpPr>
        <p:spPr bwMode="gray">
          <a:xfrm>
            <a:off x="164593" y="292608"/>
            <a:ext cx="4198001" cy="321562"/>
          </a:xfrm>
        </p:spPr>
        <p:txBody>
          <a:bodyPr/>
          <a:lstStyle>
            <a:lvl1pPr marL="0" indent="0">
              <a:buNone/>
              <a:defRPr sz="1600" b="1">
                <a:solidFill>
                  <a:schemeClr val="tx1"/>
                </a:solidFill>
                <a:latin typeface="Mark Offc For MC" panose="020B0504020101010102" pitchFamily="34" charset="0"/>
              </a:defRPr>
            </a:lvl1pPr>
            <a:lvl2pPr marL="342891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783" indent="0">
              <a:buNone/>
              <a:defRPr sz="1351">
                <a:solidFill>
                  <a:schemeClr val="tx1">
                    <a:tint val="75000"/>
                  </a:schemeClr>
                </a:solidFill>
              </a:defRPr>
            </a:lvl3pPr>
            <a:lvl4pPr marL="1028674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566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457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349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24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131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add section number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164594" y="726671"/>
            <a:ext cx="4198001" cy="1034129"/>
          </a:xfrm>
        </p:spPr>
        <p:txBody>
          <a:bodyPr anchor="t" anchorCtr="0"/>
          <a:lstStyle>
            <a:lvl1pPr>
              <a:defRPr sz="3400" b="0">
                <a:solidFill>
                  <a:schemeClr val="tx1"/>
                </a:solidFill>
                <a:latin typeface="Mark Offc For MC Extra Light" panose="020B0404020101010102" pitchFamily="34" charset="0"/>
              </a:defRPr>
            </a:lvl1pPr>
          </a:lstStyle>
          <a:p>
            <a:r>
              <a:rPr lang="en-US" dirty="0"/>
              <a:t>Click to add section title</a:t>
            </a:r>
          </a:p>
        </p:txBody>
      </p:sp>
      <p:grpSp>
        <p:nvGrpSpPr>
          <p:cNvPr id="12" name="Graphic 9">
            <a:extLst>
              <a:ext uri="{FF2B5EF4-FFF2-40B4-BE49-F238E27FC236}">
                <a16:creationId xmlns:a16="http://schemas.microsoft.com/office/drawing/2014/main" id="{B96E7C20-9D5B-4B22-8E28-AA0C8A79B1D5}"/>
              </a:ext>
            </a:extLst>
          </p:cNvPr>
          <p:cNvGrpSpPr>
            <a:grpSpLocks noChangeAspect="1"/>
          </p:cNvGrpSpPr>
          <p:nvPr userDrawn="1"/>
        </p:nvGrpSpPr>
        <p:grpSpPr bwMode="gray">
          <a:xfrm>
            <a:off x="8288899" y="258318"/>
            <a:ext cx="595440" cy="370757"/>
            <a:chOff x="248864" y="1309239"/>
            <a:chExt cx="1116830" cy="695406"/>
          </a:xfrm>
        </p:grpSpPr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D917C018-D808-4F4A-89EC-7FB08C50DEC6}"/>
                </a:ext>
              </a:extLst>
            </p:cNvPr>
            <p:cNvSpPr/>
            <p:nvPr/>
          </p:nvSpPr>
          <p:spPr bwMode="gray">
            <a:xfrm>
              <a:off x="653702" y="1382595"/>
              <a:ext cx="314326" cy="552451"/>
            </a:xfrm>
            <a:custGeom>
              <a:avLst/>
              <a:gdLst>
                <a:gd name="connsiteX0" fmla="*/ 7144 w 314325"/>
                <a:gd name="connsiteY0" fmla="*/ 7144 h 552450"/>
                <a:gd name="connsiteX1" fmla="*/ 307181 w 314325"/>
                <a:gd name="connsiteY1" fmla="*/ 7144 h 552450"/>
                <a:gd name="connsiteX2" fmla="*/ 307181 w 314325"/>
                <a:gd name="connsiteY2" fmla="*/ 546354 h 552450"/>
                <a:gd name="connsiteX3" fmla="*/ 7144 w 314325"/>
                <a:gd name="connsiteY3" fmla="*/ 546354 h 552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14325" h="552450">
                  <a:moveTo>
                    <a:pt x="7144" y="7144"/>
                  </a:moveTo>
                  <a:lnTo>
                    <a:pt x="307181" y="7144"/>
                  </a:lnTo>
                  <a:lnTo>
                    <a:pt x="307181" y="546354"/>
                  </a:lnTo>
                  <a:lnTo>
                    <a:pt x="7144" y="546354"/>
                  </a:lnTo>
                  <a:close/>
                </a:path>
              </a:pathLst>
            </a:custGeom>
            <a:solidFill>
              <a:srgbClr val="FF5F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/>
              <a:endParaRPr lang="en-US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8A234C8A-EDFE-44F9-B336-B874D8FBCFF4}"/>
                </a:ext>
              </a:extLst>
            </p:cNvPr>
            <p:cNvSpPr/>
            <p:nvPr/>
          </p:nvSpPr>
          <p:spPr bwMode="gray">
            <a:xfrm>
              <a:off x="248864" y="1309239"/>
              <a:ext cx="561975" cy="695324"/>
            </a:xfrm>
            <a:custGeom>
              <a:avLst/>
              <a:gdLst>
                <a:gd name="connsiteX0" fmla="*/ 431031 w 561975"/>
                <a:gd name="connsiteY0" fmla="*/ 350058 h 695325"/>
                <a:gd name="connsiteX1" fmla="*/ 562000 w 561975"/>
                <a:gd name="connsiteY1" fmla="*/ 80501 h 695325"/>
                <a:gd name="connsiteX2" fmla="*/ 80501 w 561975"/>
                <a:gd name="connsiteY2" fmla="*/ 138117 h 695325"/>
                <a:gd name="connsiteX3" fmla="*/ 138117 w 561975"/>
                <a:gd name="connsiteY3" fmla="*/ 619616 h 695325"/>
                <a:gd name="connsiteX4" fmla="*/ 562000 w 561975"/>
                <a:gd name="connsiteY4" fmla="*/ 619616 h 695325"/>
                <a:gd name="connsiteX5" fmla="*/ 431031 w 561975"/>
                <a:gd name="connsiteY5" fmla="*/ 350058 h 6953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61975" h="695325">
                  <a:moveTo>
                    <a:pt x="431031" y="350058"/>
                  </a:moveTo>
                  <a:cubicBezTo>
                    <a:pt x="430905" y="244845"/>
                    <a:pt x="479209" y="145428"/>
                    <a:pt x="562000" y="80501"/>
                  </a:cubicBezTo>
                  <a:cubicBezTo>
                    <a:pt x="413127" y="-36551"/>
                    <a:pt x="197553" y="-10756"/>
                    <a:pt x="80501" y="138117"/>
                  </a:cubicBezTo>
                  <a:cubicBezTo>
                    <a:pt x="-36551" y="286989"/>
                    <a:pt x="-10756" y="502564"/>
                    <a:pt x="138117" y="619616"/>
                  </a:cubicBezTo>
                  <a:cubicBezTo>
                    <a:pt x="262491" y="717406"/>
                    <a:pt x="437626" y="717406"/>
                    <a:pt x="562000" y="619616"/>
                  </a:cubicBezTo>
                  <a:cubicBezTo>
                    <a:pt x="479209" y="554688"/>
                    <a:pt x="430905" y="455272"/>
                    <a:pt x="431031" y="350058"/>
                  </a:cubicBezTo>
                  <a:close/>
                </a:path>
              </a:pathLst>
            </a:custGeom>
            <a:solidFill>
              <a:srgbClr val="EB001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/>
              <a:endParaRPr lang="en-US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15233F1A-C03B-4B5A-A406-CC4E8F93C8B4}"/>
                </a:ext>
              </a:extLst>
            </p:cNvPr>
            <p:cNvSpPr/>
            <p:nvPr/>
          </p:nvSpPr>
          <p:spPr bwMode="gray">
            <a:xfrm>
              <a:off x="803719" y="1309321"/>
              <a:ext cx="561975" cy="695324"/>
            </a:xfrm>
            <a:custGeom>
              <a:avLst/>
              <a:gdLst>
                <a:gd name="connsiteX0" fmla="*/ 561880 w 561975"/>
                <a:gd name="connsiteY0" fmla="*/ 349975 h 695325"/>
                <a:gd name="connsiteX1" fmla="*/ 218897 w 561975"/>
                <a:gd name="connsiteY1" fmla="*/ 692793 h 695325"/>
                <a:gd name="connsiteX2" fmla="*/ 7144 w 561975"/>
                <a:gd name="connsiteY2" fmla="*/ 619533 h 695325"/>
                <a:gd name="connsiteX3" fmla="*/ 64760 w 561975"/>
                <a:gd name="connsiteY3" fmla="*/ 138034 h 695325"/>
                <a:gd name="connsiteX4" fmla="*/ 7144 w 561975"/>
                <a:gd name="connsiteY4" fmla="*/ 80418 h 695325"/>
                <a:gd name="connsiteX5" fmla="*/ 488620 w 561975"/>
                <a:gd name="connsiteY5" fmla="*/ 138222 h 695325"/>
                <a:gd name="connsiteX6" fmla="*/ 561880 w 561975"/>
                <a:gd name="connsiteY6" fmla="*/ 349975 h 695325"/>
                <a:gd name="connsiteX7" fmla="*/ 529209 w 561975"/>
                <a:gd name="connsiteY7" fmla="*/ 562478 h 695325"/>
                <a:gd name="connsiteX8" fmla="*/ 529209 w 561975"/>
                <a:gd name="connsiteY8" fmla="*/ 551429 h 695325"/>
                <a:gd name="connsiteX9" fmla="*/ 533686 w 561975"/>
                <a:gd name="connsiteY9" fmla="*/ 551429 h 695325"/>
                <a:gd name="connsiteX10" fmla="*/ 533686 w 561975"/>
                <a:gd name="connsiteY10" fmla="*/ 549143 h 695325"/>
                <a:gd name="connsiteX11" fmla="*/ 522446 w 561975"/>
                <a:gd name="connsiteY11" fmla="*/ 549143 h 695325"/>
                <a:gd name="connsiteX12" fmla="*/ 522446 w 561975"/>
                <a:gd name="connsiteY12" fmla="*/ 551429 h 695325"/>
                <a:gd name="connsiteX13" fmla="*/ 526828 w 561975"/>
                <a:gd name="connsiteY13" fmla="*/ 551429 h 695325"/>
                <a:gd name="connsiteX14" fmla="*/ 526828 w 561975"/>
                <a:gd name="connsiteY14" fmla="*/ 562478 h 695325"/>
                <a:gd name="connsiteX15" fmla="*/ 551212 w 561975"/>
                <a:gd name="connsiteY15" fmla="*/ 562478 h 695325"/>
                <a:gd name="connsiteX16" fmla="*/ 551212 w 561975"/>
                <a:gd name="connsiteY16" fmla="*/ 549143 h 695325"/>
                <a:gd name="connsiteX17" fmla="*/ 547687 w 561975"/>
                <a:gd name="connsiteY17" fmla="*/ 549143 h 695325"/>
                <a:gd name="connsiteX18" fmla="*/ 543687 w 561975"/>
                <a:gd name="connsiteY18" fmla="*/ 558668 h 695325"/>
                <a:gd name="connsiteX19" fmla="*/ 539686 w 561975"/>
                <a:gd name="connsiteY19" fmla="*/ 549143 h 695325"/>
                <a:gd name="connsiteX20" fmla="*/ 536258 w 561975"/>
                <a:gd name="connsiteY20" fmla="*/ 549143 h 695325"/>
                <a:gd name="connsiteX21" fmla="*/ 536258 w 561975"/>
                <a:gd name="connsiteY21" fmla="*/ 562478 h 695325"/>
                <a:gd name="connsiteX22" fmla="*/ 538734 w 561975"/>
                <a:gd name="connsiteY22" fmla="*/ 562478 h 695325"/>
                <a:gd name="connsiteX23" fmla="*/ 538734 w 561975"/>
                <a:gd name="connsiteY23" fmla="*/ 552382 h 695325"/>
                <a:gd name="connsiteX24" fmla="*/ 542449 w 561975"/>
                <a:gd name="connsiteY24" fmla="*/ 561049 h 695325"/>
                <a:gd name="connsiteX25" fmla="*/ 545020 w 561975"/>
                <a:gd name="connsiteY25" fmla="*/ 561049 h 695325"/>
                <a:gd name="connsiteX26" fmla="*/ 548735 w 561975"/>
                <a:gd name="connsiteY26" fmla="*/ 552382 h 695325"/>
                <a:gd name="connsiteX27" fmla="*/ 548735 w 561975"/>
                <a:gd name="connsiteY27" fmla="*/ 562478 h 6953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561975" h="695325">
                  <a:moveTo>
                    <a:pt x="561880" y="349975"/>
                  </a:moveTo>
                  <a:cubicBezTo>
                    <a:pt x="561834" y="539354"/>
                    <a:pt x="408276" y="692838"/>
                    <a:pt x="218897" y="692793"/>
                  </a:cubicBezTo>
                  <a:cubicBezTo>
                    <a:pt x="142100" y="692774"/>
                    <a:pt x="67533" y="666976"/>
                    <a:pt x="7144" y="619533"/>
                  </a:cubicBezTo>
                  <a:cubicBezTo>
                    <a:pt x="156016" y="502481"/>
                    <a:pt x="181812" y="286906"/>
                    <a:pt x="64760" y="138034"/>
                  </a:cubicBezTo>
                  <a:cubicBezTo>
                    <a:pt x="47913" y="116607"/>
                    <a:pt x="28571" y="97265"/>
                    <a:pt x="7144" y="80418"/>
                  </a:cubicBezTo>
                  <a:cubicBezTo>
                    <a:pt x="156062" y="-36576"/>
                    <a:pt x="371626" y="-10696"/>
                    <a:pt x="488620" y="138222"/>
                  </a:cubicBezTo>
                  <a:cubicBezTo>
                    <a:pt x="536063" y="198612"/>
                    <a:pt x="561861" y="273179"/>
                    <a:pt x="561880" y="349975"/>
                  </a:cubicBezTo>
                  <a:close/>
                  <a:moveTo>
                    <a:pt x="529209" y="562478"/>
                  </a:moveTo>
                  <a:lnTo>
                    <a:pt x="529209" y="551429"/>
                  </a:lnTo>
                  <a:lnTo>
                    <a:pt x="533686" y="551429"/>
                  </a:lnTo>
                  <a:lnTo>
                    <a:pt x="533686" y="549143"/>
                  </a:lnTo>
                  <a:lnTo>
                    <a:pt x="522446" y="549143"/>
                  </a:lnTo>
                  <a:lnTo>
                    <a:pt x="522446" y="551429"/>
                  </a:lnTo>
                  <a:lnTo>
                    <a:pt x="526828" y="551429"/>
                  </a:lnTo>
                  <a:lnTo>
                    <a:pt x="526828" y="562478"/>
                  </a:lnTo>
                  <a:close/>
                  <a:moveTo>
                    <a:pt x="551212" y="562478"/>
                  </a:moveTo>
                  <a:lnTo>
                    <a:pt x="551212" y="549143"/>
                  </a:lnTo>
                  <a:lnTo>
                    <a:pt x="547687" y="549143"/>
                  </a:lnTo>
                  <a:lnTo>
                    <a:pt x="543687" y="558668"/>
                  </a:lnTo>
                  <a:lnTo>
                    <a:pt x="539686" y="549143"/>
                  </a:lnTo>
                  <a:lnTo>
                    <a:pt x="536258" y="549143"/>
                  </a:lnTo>
                  <a:lnTo>
                    <a:pt x="536258" y="562478"/>
                  </a:lnTo>
                  <a:lnTo>
                    <a:pt x="538734" y="562478"/>
                  </a:lnTo>
                  <a:lnTo>
                    <a:pt x="538734" y="552382"/>
                  </a:lnTo>
                  <a:lnTo>
                    <a:pt x="542449" y="561049"/>
                  </a:lnTo>
                  <a:lnTo>
                    <a:pt x="545020" y="561049"/>
                  </a:lnTo>
                  <a:lnTo>
                    <a:pt x="548735" y="552382"/>
                  </a:lnTo>
                  <a:lnTo>
                    <a:pt x="548735" y="562478"/>
                  </a:lnTo>
                  <a:close/>
                </a:path>
              </a:pathLst>
            </a:custGeom>
            <a:solidFill>
              <a:srgbClr val="F79E1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06419497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Graphic -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SlideNameDept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164592" y="3466431"/>
            <a:ext cx="3124200" cy="170816"/>
          </a:xfrm>
        </p:spPr>
        <p:txBody>
          <a:bodyPr vert="horz" lIns="91440" tIns="0" rIns="91440" bIns="45720" rtlCol="0" anchor="t" anchorCtr="0">
            <a:spAutoFit/>
          </a:bodyPr>
          <a:lstStyle>
            <a:lvl1pPr marL="115885" indent="-115885">
              <a:buNone/>
              <a:defRPr lang="en-US" sz="900" b="0" cap="none" baseline="0" dirty="0" smtClean="0">
                <a:latin typeface="MarkForMC Nrw O" panose="020B0506020201010104" pitchFamily="34" charset="0"/>
              </a:defRPr>
            </a:lvl1pPr>
          </a:lstStyle>
          <a:p>
            <a:pPr marL="0" lvl="0" indent="0"/>
            <a:r>
              <a:rPr lang="en-US" dirty="0"/>
              <a:t>Click to add presenter name, department</a:t>
            </a:r>
          </a:p>
        </p:txBody>
      </p:sp>
      <p:sp>
        <p:nvSpPr>
          <p:cNvPr id="26" name="Date Placeholder 3"/>
          <p:cNvSpPr>
            <a:spLocks noGrp="1"/>
          </p:cNvSpPr>
          <p:nvPr>
            <p:ph type="dt" sz="half" idx="2"/>
          </p:nvPr>
        </p:nvSpPr>
        <p:spPr bwMode="gray">
          <a:xfrm>
            <a:off x="164592" y="3166956"/>
            <a:ext cx="3123564" cy="273844"/>
          </a:xfrm>
          <a:prstGeom prst="rect">
            <a:avLst/>
          </a:prstGeom>
        </p:spPr>
        <p:txBody>
          <a:bodyPr vert="horz" lIns="91440" tIns="45720" rIns="91440" bIns="0" rtlCol="0" anchor="b" anchorCtr="0"/>
          <a:lstStyle>
            <a:lvl1pPr>
              <a:defRPr lang="en-US" sz="900" cap="none" smtClean="0">
                <a:latin typeface="MarkForMC Nrw O" panose="020B0506020201010104" pitchFamily="34" charset="0"/>
              </a:defRPr>
            </a:lvl1pPr>
          </a:lstStyle>
          <a:p>
            <a:r>
              <a:rPr lang="en-US"/>
              <a:t>October 31, 2023</a:t>
            </a:r>
            <a:endParaRPr lang="en-US" dirty="0"/>
          </a:p>
        </p:txBody>
      </p:sp>
      <p:sp>
        <p:nvSpPr>
          <p:cNvPr id="25" name="Subtitle 2"/>
          <p:cNvSpPr>
            <a:spLocks noGrp="1"/>
          </p:cNvSpPr>
          <p:nvPr>
            <p:ph type="subTitle" idx="1"/>
          </p:nvPr>
        </p:nvSpPr>
        <p:spPr bwMode="gray">
          <a:xfrm>
            <a:off x="164591" y="2717911"/>
            <a:ext cx="6702552" cy="498725"/>
          </a:xfrm>
          <a:ln>
            <a:noFill/>
          </a:ln>
        </p:spPr>
        <p:txBody>
          <a:bodyPr rIns="91440"/>
          <a:lstStyle>
            <a:lvl1pPr marL="0" indent="0" algn="l">
              <a:lnSpc>
                <a:spcPct val="80000"/>
              </a:lnSpc>
              <a:buNone/>
              <a:defRPr sz="1400">
                <a:solidFill>
                  <a:schemeClr val="tx1"/>
                </a:solidFill>
                <a:latin typeface="Mark Offc For MC" panose="020B0504020101010102" pitchFamily="34" charset="0"/>
              </a:defRPr>
            </a:lvl1pPr>
            <a:lvl2pPr marL="342891" indent="0" algn="ctr">
              <a:buNone/>
              <a:defRPr sz="1500"/>
            </a:lvl2pPr>
            <a:lvl3pPr marL="685783" indent="0" algn="ctr">
              <a:buNone/>
              <a:defRPr sz="1351"/>
            </a:lvl3pPr>
            <a:lvl4pPr marL="1028674" indent="0" algn="ctr">
              <a:buNone/>
              <a:defRPr sz="1200"/>
            </a:lvl4pPr>
            <a:lvl5pPr marL="1371566" indent="0" algn="ctr">
              <a:buNone/>
              <a:defRPr sz="1200"/>
            </a:lvl5pPr>
            <a:lvl6pPr marL="1714457" indent="0" algn="ctr">
              <a:buNone/>
              <a:defRPr sz="1200"/>
            </a:lvl6pPr>
            <a:lvl7pPr marL="2057349" indent="0" algn="ctr">
              <a:buNone/>
              <a:defRPr sz="1200"/>
            </a:lvl7pPr>
            <a:lvl8pPr marL="2400240" indent="0" algn="ctr">
              <a:buNone/>
              <a:defRPr sz="1200"/>
            </a:lvl8pPr>
            <a:lvl9pPr marL="2743131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4" name="Title 1"/>
          <p:cNvSpPr>
            <a:spLocks noGrp="1"/>
          </p:cNvSpPr>
          <p:nvPr>
            <p:ph type="ctrTitle"/>
          </p:nvPr>
        </p:nvSpPr>
        <p:spPr bwMode="gray">
          <a:xfrm>
            <a:off x="164591" y="1430456"/>
            <a:ext cx="6702552" cy="1274195"/>
          </a:xfrm>
          <a:ln>
            <a:noFill/>
          </a:ln>
        </p:spPr>
        <p:txBody>
          <a:bodyPr rIns="91440" anchor="b"/>
          <a:lstStyle>
            <a:lvl1pPr algn="l">
              <a:lnSpc>
                <a:spcPct val="80000"/>
              </a:lnSpc>
              <a:defRPr sz="4800" b="0">
                <a:solidFill>
                  <a:schemeClr val="tx1"/>
                </a:solidFill>
                <a:latin typeface="Mark Offc For MC Extra Light" panose="020B0404020101010102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grpSp>
        <p:nvGrpSpPr>
          <p:cNvPr id="13" name="Graphic 9">
            <a:extLst>
              <a:ext uri="{FF2B5EF4-FFF2-40B4-BE49-F238E27FC236}">
                <a16:creationId xmlns:a16="http://schemas.microsoft.com/office/drawing/2014/main" id="{A4AE44F8-1426-47A8-AD24-1B39E53FC2A5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8288899" y="258318"/>
            <a:ext cx="595440" cy="370757"/>
            <a:chOff x="248864" y="1309239"/>
            <a:chExt cx="1116830" cy="695406"/>
          </a:xfrm>
        </p:grpSpPr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9BE3135D-F028-4808-98B4-75D1C3D0E912}"/>
                </a:ext>
              </a:extLst>
            </p:cNvPr>
            <p:cNvSpPr/>
            <p:nvPr/>
          </p:nvSpPr>
          <p:spPr bwMode="gray">
            <a:xfrm>
              <a:off x="653702" y="1382595"/>
              <a:ext cx="314326" cy="552451"/>
            </a:xfrm>
            <a:custGeom>
              <a:avLst/>
              <a:gdLst>
                <a:gd name="connsiteX0" fmla="*/ 7144 w 314325"/>
                <a:gd name="connsiteY0" fmla="*/ 7144 h 552450"/>
                <a:gd name="connsiteX1" fmla="*/ 307181 w 314325"/>
                <a:gd name="connsiteY1" fmla="*/ 7144 h 552450"/>
                <a:gd name="connsiteX2" fmla="*/ 307181 w 314325"/>
                <a:gd name="connsiteY2" fmla="*/ 546354 h 552450"/>
                <a:gd name="connsiteX3" fmla="*/ 7144 w 314325"/>
                <a:gd name="connsiteY3" fmla="*/ 546354 h 552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14325" h="552450">
                  <a:moveTo>
                    <a:pt x="7144" y="7144"/>
                  </a:moveTo>
                  <a:lnTo>
                    <a:pt x="307181" y="7144"/>
                  </a:lnTo>
                  <a:lnTo>
                    <a:pt x="307181" y="546354"/>
                  </a:lnTo>
                  <a:lnTo>
                    <a:pt x="7144" y="546354"/>
                  </a:lnTo>
                  <a:close/>
                </a:path>
              </a:pathLst>
            </a:custGeom>
            <a:solidFill>
              <a:srgbClr val="FF5F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/>
              <a:endParaRPr lang="en-US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B6CE0B3E-E368-402F-BDF2-14974FDD38A3}"/>
                </a:ext>
              </a:extLst>
            </p:cNvPr>
            <p:cNvSpPr/>
            <p:nvPr/>
          </p:nvSpPr>
          <p:spPr bwMode="gray">
            <a:xfrm>
              <a:off x="248864" y="1309239"/>
              <a:ext cx="561975" cy="695324"/>
            </a:xfrm>
            <a:custGeom>
              <a:avLst/>
              <a:gdLst>
                <a:gd name="connsiteX0" fmla="*/ 431031 w 561975"/>
                <a:gd name="connsiteY0" fmla="*/ 350058 h 695325"/>
                <a:gd name="connsiteX1" fmla="*/ 562000 w 561975"/>
                <a:gd name="connsiteY1" fmla="*/ 80501 h 695325"/>
                <a:gd name="connsiteX2" fmla="*/ 80501 w 561975"/>
                <a:gd name="connsiteY2" fmla="*/ 138117 h 695325"/>
                <a:gd name="connsiteX3" fmla="*/ 138117 w 561975"/>
                <a:gd name="connsiteY3" fmla="*/ 619616 h 695325"/>
                <a:gd name="connsiteX4" fmla="*/ 562000 w 561975"/>
                <a:gd name="connsiteY4" fmla="*/ 619616 h 695325"/>
                <a:gd name="connsiteX5" fmla="*/ 431031 w 561975"/>
                <a:gd name="connsiteY5" fmla="*/ 350058 h 6953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61975" h="695325">
                  <a:moveTo>
                    <a:pt x="431031" y="350058"/>
                  </a:moveTo>
                  <a:cubicBezTo>
                    <a:pt x="430905" y="244845"/>
                    <a:pt x="479209" y="145428"/>
                    <a:pt x="562000" y="80501"/>
                  </a:cubicBezTo>
                  <a:cubicBezTo>
                    <a:pt x="413127" y="-36551"/>
                    <a:pt x="197553" y="-10756"/>
                    <a:pt x="80501" y="138117"/>
                  </a:cubicBezTo>
                  <a:cubicBezTo>
                    <a:pt x="-36551" y="286989"/>
                    <a:pt x="-10756" y="502564"/>
                    <a:pt x="138117" y="619616"/>
                  </a:cubicBezTo>
                  <a:cubicBezTo>
                    <a:pt x="262491" y="717406"/>
                    <a:pt x="437626" y="717406"/>
                    <a:pt x="562000" y="619616"/>
                  </a:cubicBezTo>
                  <a:cubicBezTo>
                    <a:pt x="479209" y="554688"/>
                    <a:pt x="430905" y="455272"/>
                    <a:pt x="431031" y="350058"/>
                  </a:cubicBezTo>
                  <a:close/>
                </a:path>
              </a:pathLst>
            </a:custGeom>
            <a:solidFill>
              <a:srgbClr val="EB001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/>
              <a:endParaRPr lang="en-US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158284E4-ECF5-4258-A538-80CAEFFEE4A2}"/>
                </a:ext>
              </a:extLst>
            </p:cNvPr>
            <p:cNvSpPr/>
            <p:nvPr/>
          </p:nvSpPr>
          <p:spPr bwMode="gray">
            <a:xfrm>
              <a:off x="803719" y="1309321"/>
              <a:ext cx="561975" cy="695324"/>
            </a:xfrm>
            <a:custGeom>
              <a:avLst/>
              <a:gdLst>
                <a:gd name="connsiteX0" fmla="*/ 561880 w 561975"/>
                <a:gd name="connsiteY0" fmla="*/ 349975 h 695325"/>
                <a:gd name="connsiteX1" fmla="*/ 218897 w 561975"/>
                <a:gd name="connsiteY1" fmla="*/ 692793 h 695325"/>
                <a:gd name="connsiteX2" fmla="*/ 7144 w 561975"/>
                <a:gd name="connsiteY2" fmla="*/ 619533 h 695325"/>
                <a:gd name="connsiteX3" fmla="*/ 64760 w 561975"/>
                <a:gd name="connsiteY3" fmla="*/ 138034 h 695325"/>
                <a:gd name="connsiteX4" fmla="*/ 7144 w 561975"/>
                <a:gd name="connsiteY4" fmla="*/ 80418 h 695325"/>
                <a:gd name="connsiteX5" fmla="*/ 488620 w 561975"/>
                <a:gd name="connsiteY5" fmla="*/ 138222 h 695325"/>
                <a:gd name="connsiteX6" fmla="*/ 561880 w 561975"/>
                <a:gd name="connsiteY6" fmla="*/ 349975 h 695325"/>
                <a:gd name="connsiteX7" fmla="*/ 529209 w 561975"/>
                <a:gd name="connsiteY7" fmla="*/ 562478 h 695325"/>
                <a:gd name="connsiteX8" fmla="*/ 529209 w 561975"/>
                <a:gd name="connsiteY8" fmla="*/ 551429 h 695325"/>
                <a:gd name="connsiteX9" fmla="*/ 533686 w 561975"/>
                <a:gd name="connsiteY9" fmla="*/ 551429 h 695325"/>
                <a:gd name="connsiteX10" fmla="*/ 533686 w 561975"/>
                <a:gd name="connsiteY10" fmla="*/ 549143 h 695325"/>
                <a:gd name="connsiteX11" fmla="*/ 522446 w 561975"/>
                <a:gd name="connsiteY11" fmla="*/ 549143 h 695325"/>
                <a:gd name="connsiteX12" fmla="*/ 522446 w 561975"/>
                <a:gd name="connsiteY12" fmla="*/ 551429 h 695325"/>
                <a:gd name="connsiteX13" fmla="*/ 526828 w 561975"/>
                <a:gd name="connsiteY13" fmla="*/ 551429 h 695325"/>
                <a:gd name="connsiteX14" fmla="*/ 526828 w 561975"/>
                <a:gd name="connsiteY14" fmla="*/ 562478 h 695325"/>
                <a:gd name="connsiteX15" fmla="*/ 551212 w 561975"/>
                <a:gd name="connsiteY15" fmla="*/ 562478 h 695325"/>
                <a:gd name="connsiteX16" fmla="*/ 551212 w 561975"/>
                <a:gd name="connsiteY16" fmla="*/ 549143 h 695325"/>
                <a:gd name="connsiteX17" fmla="*/ 547687 w 561975"/>
                <a:gd name="connsiteY17" fmla="*/ 549143 h 695325"/>
                <a:gd name="connsiteX18" fmla="*/ 543687 w 561975"/>
                <a:gd name="connsiteY18" fmla="*/ 558668 h 695325"/>
                <a:gd name="connsiteX19" fmla="*/ 539686 w 561975"/>
                <a:gd name="connsiteY19" fmla="*/ 549143 h 695325"/>
                <a:gd name="connsiteX20" fmla="*/ 536258 w 561975"/>
                <a:gd name="connsiteY20" fmla="*/ 549143 h 695325"/>
                <a:gd name="connsiteX21" fmla="*/ 536258 w 561975"/>
                <a:gd name="connsiteY21" fmla="*/ 562478 h 695325"/>
                <a:gd name="connsiteX22" fmla="*/ 538734 w 561975"/>
                <a:gd name="connsiteY22" fmla="*/ 562478 h 695325"/>
                <a:gd name="connsiteX23" fmla="*/ 538734 w 561975"/>
                <a:gd name="connsiteY23" fmla="*/ 552382 h 695325"/>
                <a:gd name="connsiteX24" fmla="*/ 542449 w 561975"/>
                <a:gd name="connsiteY24" fmla="*/ 561049 h 695325"/>
                <a:gd name="connsiteX25" fmla="*/ 545020 w 561975"/>
                <a:gd name="connsiteY25" fmla="*/ 561049 h 695325"/>
                <a:gd name="connsiteX26" fmla="*/ 548735 w 561975"/>
                <a:gd name="connsiteY26" fmla="*/ 552382 h 695325"/>
                <a:gd name="connsiteX27" fmla="*/ 548735 w 561975"/>
                <a:gd name="connsiteY27" fmla="*/ 562478 h 6953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561975" h="695325">
                  <a:moveTo>
                    <a:pt x="561880" y="349975"/>
                  </a:moveTo>
                  <a:cubicBezTo>
                    <a:pt x="561834" y="539354"/>
                    <a:pt x="408276" y="692838"/>
                    <a:pt x="218897" y="692793"/>
                  </a:cubicBezTo>
                  <a:cubicBezTo>
                    <a:pt x="142100" y="692774"/>
                    <a:pt x="67533" y="666976"/>
                    <a:pt x="7144" y="619533"/>
                  </a:cubicBezTo>
                  <a:cubicBezTo>
                    <a:pt x="156016" y="502481"/>
                    <a:pt x="181812" y="286906"/>
                    <a:pt x="64760" y="138034"/>
                  </a:cubicBezTo>
                  <a:cubicBezTo>
                    <a:pt x="47913" y="116607"/>
                    <a:pt x="28571" y="97265"/>
                    <a:pt x="7144" y="80418"/>
                  </a:cubicBezTo>
                  <a:cubicBezTo>
                    <a:pt x="156062" y="-36576"/>
                    <a:pt x="371626" y="-10696"/>
                    <a:pt x="488620" y="138222"/>
                  </a:cubicBezTo>
                  <a:cubicBezTo>
                    <a:pt x="536063" y="198612"/>
                    <a:pt x="561861" y="273179"/>
                    <a:pt x="561880" y="349975"/>
                  </a:cubicBezTo>
                  <a:close/>
                  <a:moveTo>
                    <a:pt x="529209" y="562478"/>
                  </a:moveTo>
                  <a:lnTo>
                    <a:pt x="529209" y="551429"/>
                  </a:lnTo>
                  <a:lnTo>
                    <a:pt x="533686" y="551429"/>
                  </a:lnTo>
                  <a:lnTo>
                    <a:pt x="533686" y="549143"/>
                  </a:lnTo>
                  <a:lnTo>
                    <a:pt x="522446" y="549143"/>
                  </a:lnTo>
                  <a:lnTo>
                    <a:pt x="522446" y="551429"/>
                  </a:lnTo>
                  <a:lnTo>
                    <a:pt x="526828" y="551429"/>
                  </a:lnTo>
                  <a:lnTo>
                    <a:pt x="526828" y="562478"/>
                  </a:lnTo>
                  <a:close/>
                  <a:moveTo>
                    <a:pt x="551212" y="562478"/>
                  </a:moveTo>
                  <a:lnTo>
                    <a:pt x="551212" y="549143"/>
                  </a:lnTo>
                  <a:lnTo>
                    <a:pt x="547687" y="549143"/>
                  </a:lnTo>
                  <a:lnTo>
                    <a:pt x="543687" y="558668"/>
                  </a:lnTo>
                  <a:lnTo>
                    <a:pt x="539686" y="549143"/>
                  </a:lnTo>
                  <a:lnTo>
                    <a:pt x="536258" y="549143"/>
                  </a:lnTo>
                  <a:lnTo>
                    <a:pt x="536258" y="562478"/>
                  </a:lnTo>
                  <a:lnTo>
                    <a:pt x="538734" y="562478"/>
                  </a:lnTo>
                  <a:lnTo>
                    <a:pt x="538734" y="552382"/>
                  </a:lnTo>
                  <a:lnTo>
                    <a:pt x="542449" y="561049"/>
                  </a:lnTo>
                  <a:lnTo>
                    <a:pt x="545020" y="561049"/>
                  </a:lnTo>
                  <a:lnTo>
                    <a:pt x="548735" y="552382"/>
                  </a:lnTo>
                  <a:lnTo>
                    <a:pt x="548735" y="562478"/>
                  </a:lnTo>
                  <a:close/>
                </a:path>
              </a:pathLst>
            </a:custGeom>
            <a:solidFill>
              <a:srgbClr val="F79E1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956637018"/>
      </p:ext>
    </p:extLst>
  </p:cSld>
  <p:clrMapOvr>
    <a:masterClrMapping/>
  </p:clrMapOvr>
  <p:hf hd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Custom Image - 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0" y="0"/>
            <a:ext cx="4572000" cy="5143500"/>
          </a:xfrm>
        </p:spPr>
        <p:txBody>
          <a:bodyPr bIns="2011680" anchor="b" anchorCtr="0"/>
          <a:lstStyle>
            <a:lvl1pPr marL="0" indent="0" algn="ctr">
              <a:buNone/>
              <a:defRPr sz="1200">
                <a:solidFill>
                  <a:srgbClr val="94918C"/>
                </a:solidFill>
                <a:latin typeface="+mn-lt"/>
              </a:defRPr>
            </a:lvl1pPr>
          </a:lstStyle>
          <a:p>
            <a:r>
              <a:rPr lang="en-US" dirty="0"/>
              <a:t>Click icon to add image.</a:t>
            </a:r>
            <a:br>
              <a:rPr lang="en-US" dirty="0"/>
            </a:br>
            <a:r>
              <a:rPr lang="en-US" dirty="0"/>
              <a:t>Get </a:t>
            </a:r>
            <a:r>
              <a:rPr lang="en-US" dirty="0" err="1"/>
              <a:t>Mastercard</a:t>
            </a:r>
            <a:r>
              <a:rPr lang="en-US" dirty="0"/>
              <a:t> approved photography and</a:t>
            </a:r>
            <a:br>
              <a:rPr lang="en-US" dirty="0"/>
            </a:br>
            <a:r>
              <a:rPr lang="en-US" dirty="0"/>
              <a:t>imagery guidelines at designcenter.mastercard.com.</a:t>
            </a:r>
          </a:p>
        </p:txBody>
      </p:sp>
      <p:sp>
        <p:nvSpPr>
          <p:cNvPr id="10" name="TitleSlideNameDept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4736592" y="3466431"/>
            <a:ext cx="3124200" cy="170816"/>
          </a:xfrm>
        </p:spPr>
        <p:txBody>
          <a:bodyPr vert="horz" lIns="91440" tIns="0" rIns="91440" bIns="45720" rtlCol="0" anchor="t" anchorCtr="0">
            <a:spAutoFit/>
          </a:bodyPr>
          <a:lstStyle>
            <a:lvl1pPr marL="115885" indent="-115885">
              <a:buNone/>
              <a:defRPr lang="en-US" sz="900" b="0" cap="none" baseline="0" dirty="0" smtClean="0">
                <a:solidFill>
                  <a:srgbClr val="FFFFFF"/>
                </a:solidFill>
                <a:latin typeface="MarkForMC Nrw O" panose="020B0506020201010104" pitchFamily="34" charset="0"/>
              </a:defRPr>
            </a:lvl1pPr>
          </a:lstStyle>
          <a:p>
            <a:pPr marL="0" lvl="0" indent="0"/>
            <a:r>
              <a:rPr lang="en-US" dirty="0"/>
              <a:t>Click to add presenter name, department</a:t>
            </a:r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 bwMode="gray">
          <a:xfrm>
            <a:off x="4736592" y="3166956"/>
            <a:ext cx="3123564" cy="273844"/>
          </a:xfrm>
          <a:prstGeom prst="rect">
            <a:avLst/>
          </a:prstGeom>
        </p:spPr>
        <p:txBody>
          <a:bodyPr vert="horz" lIns="91440" tIns="45720" rIns="91440" bIns="0" rtlCol="0" anchor="b" anchorCtr="0"/>
          <a:lstStyle>
            <a:lvl1pPr>
              <a:defRPr lang="en-US" sz="900" cap="none" smtClean="0">
                <a:solidFill>
                  <a:srgbClr val="FFFFFF"/>
                </a:solidFill>
                <a:latin typeface="MarkForMC Nrw O" panose="020B0506020201010104" pitchFamily="34" charset="0"/>
              </a:defRPr>
            </a:lvl1pPr>
          </a:lstStyle>
          <a:p>
            <a:r>
              <a:rPr lang="en-US"/>
              <a:t>October 31, 2023</a:t>
            </a:r>
            <a:endParaRPr lang="en-US" dirty="0"/>
          </a:p>
        </p:txBody>
      </p:sp>
      <p:sp>
        <p:nvSpPr>
          <p:cNvPr id="24" name="Subtitle 2"/>
          <p:cNvSpPr>
            <a:spLocks noGrp="1"/>
          </p:cNvSpPr>
          <p:nvPr>
            <p:ph type="subTitle" idx="1"/>
          </p:nvPr>
        </p:nvSpPr>
        <p:spPr bwMode="gray">
          <a:xfrm>
            <a:off x="4736592" y="2717911"/>
            <a:ext cx="4365625" cy="498725"/>
          </a:xfrm>
          <a:ln>
            <a:noFill/>
          </a:ln>
        </p:spPr>
        <p:txBody>
          <a:bodyPr rIns="91440"/>
          <a:lstStyle>
            <a:lvl1pPr marL="0" indent="0" algn="l">
              <a:lnSpc>
                <a:spcPct val="80000"/>
              </a:lnSpc>
              <a:buNone/>
              <a:defRPr sz="1400">
                <a:solidFill>
                  <a:srgbClr val="FFFFFF"/>
                </a:solidFill>
                <a:latin typeface="Mark Offc For MC" panose="020B0504020101010102" pitchFamily="34" charset="0"/>
              </a:defRPr>
            </a:lvl1pPr>
            <a:lvl2pPr marL="342891" indent="0" algn="ctr">
              <a:buNone/>
              <a:defRPr sz="1500"/>
            </a:lvl2pPr>
            <a:lvl3pPr marL="685783" indent="0" algn="ctr">
              <a:buNone/>
              <a:defRPr sz="1351"/>
            </a:lvl3pPr>
            <a:lvl4pPr marL="1028674" indent="0" algn="ctr">
              <a:buNone/>
              <a:defRPr sz="1200"/>
            </a:lvl4pPr>
            <a:lvl5pPr marL="1371566" indent="0" algn="ctr">
              <a:buNone/>
              <a:defRPr sz="1200"/>
            </a:lvl5pPr>
            <a:lvl6pPr marL="1714457" indent="0" algn="ctr">
              <a:buNone/>
              <a:defRPr sz="1200"/>
            </a:lvl6pPr>
            <a:lvl7pPr marL="2057349" indent="0" algn="ctr">
              <a:buNone/>
              <a:defRPr sz="1200"/>
            </a:lvl7pPr>
            <a:lvl8pPr marL="2400240" indent="0" algn="ctr">
              <a:buNone/>
              <a:defRPr sz="1200"/>
            </a:lvl8pPr>
            <a:lvl9pPr marL="2743131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3" name="Title 1"/>
          <p:cNvSpPr>
            <a:spLocks noGrp="1"/>
          </p:cNvSpPr>
          <p:nvPr>
            <p:ph type="ctrTitle"/>
          </p:nvPr>
        </p:nvSpPr>
        <p:spPr bwMode="gray">
          <a:xfrm>
            <a:off x="4736592" y="1627432"/>
            <a:ext cx="4365625" cy="1077218"/>
          </a:xfrm>
          <a:ln>
            <a:noFill/>
          </a:ln>
        </p:spPr>
        <p:txBody>
          <a:bodyPr rIns="91440" anchor="b"/>
          <a:lstStyle>
            <a:lvl1pPr algn="l">
              <a:lnSpc>
                <a:spcPct val="80000"/>
              </a:lnSpc>
              <a:defRPr sz="4000" b="0">
                <a:solidFill>
                  <a:srgbClr val="FFFFFF"/>
                </a:solidFill>
                <a:latin typeface="Mark Offc For MC Extra Light" panose="020B0404020101010102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grpSp>
        <p:nvGrpSpPr>
          <p:cNvPr id="15" name="Graphic 9">
            <a:extLst>
              <a:ext uri="{FF2B5EF4-FFF2-40B4-BE49-F238E27FC236}">
                <a16:creationId xmlns:a16="http://schemas.microsoft.com/office/drawing/2014/main" id="{EC174CAE-497F-4E7B-84CB-F92F060DD7F2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8288899" y="258318"/>
            <a:ext cx="595440" cy="370757"/>
            <a:chOff x="248864" y="1309239"/>
            <a:chExt cx="1116830" cy="695406"/>
          </a:xfrm>
        </p:grpSpPr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F02112A1-9683-450E-B8A2-06BB6B84FDDE}"/>
                </a:ext>
              </a:extLst>
            </p:cNvPr>
            <p:cNvSpPr/>
            <p:nvPr/>
          </p:nvSpPr>
          <p:spPr bwMode="gray">
            <a:xfrm>
              <a:off x="653702" y="1382595"/>
              <a:ext cx="314326" cy="552451"/>
            </a:xfrm>
            <a:custGeom>
              <a:avLst/>
              <a:gdLst>
                <a:gd name="connsiteX0" fmla="*/ 7144 w 314325"/>
                <a:gd name="connsiteY0" fmla="*/ 7144 h 552450"/>
                <a:gd name="connsiteX1" fmla="*/ 307181 w 314325"/>
                <a:gd name="connsiteY1" fmla="*/ 7144 h 552450"/>
                <a:gd name="connsiteX2" fmla="*/ 307181 w 314325"/>
                <a:gd name="connsiteY2" fmla="*/ 546354 h 552450"/>
                <a:gd name="connsiteX3" fmla="*/ 7144 w 314325"/>
                <a:gd name="connsiteY3" fmla="*/ 546354 h 552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14325" h="552450">
                  <a:moveTo>
                    <a:pt x="7144" y="7144"/>
                  </a:moveTo>
                  <a:lnTo>
                    <a:pt x="307181" y="7144"/>
                  </a:lnTo>
                  <a:lnTo>
                    <a:pt x="307181" y="546354"/>
                  </a:lnTo>
                  <a:lnTo>
                    <a:pt x="7144" y="546354"/>
                  </a:lnTo>
                  <a:close/>
                </a:path>
              </a:pathLst>
            </a:custGeom>
            <a:solidFill>
              <a:srgbClr val="FF5F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/>
              <a:endParaRPr lang="en-US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17D67448-829A-4CEE-8E92-CEB47F8F013D}"/>
                </a:ext>
              </a:extLst>
            </p:cNvPr>
            <p:cNvSpPr/>
            <p:nvPr/>
          </p:nvSpPr>
          <p:spPr bwMode="gray">
            <a:xfrm>
              <a:off x="248864" y="1309239"/>
              <a:ext cx="561975" cy="695324"/>
            </a:xfrm>
            <a:custGeom>
              <a:avLst/>
              <a:gdLst>
                <a:gd name="connsiteX0" fmla="*/ 431031 w 561975"/>
                <a:gd name="connsiteY0" fmla="*/ 350058 h 695325"/>
                <a:gd name="connsiteX1" fmla="*/ 562000 w 561975"/>
                <a:gd name="connsiteY1" fmla="*/ 80501 h 695325"/>
                <a:gd name="connsiteX2" fmla="*/ 80501 w 561975"/>
                <a:gd name="connsiteY2" fmla="*/ 138117 h 695325"/>
                <a:gd name="connsiteX3" fmla="*/ 138117 w 561975"/>
                <a:gd name="connsiteY3" fmla="*/ 619616 h 695325"/>
                <a:gd name="connsiteX4" fmla="*/ 562000 w 561975"/>
                <a:gd name="connsiteY4" fmla="*/ 619616 h 695325"/>
                <a:gd name="connsiteX5" fmla="*/ 431031 w 561975"/>
                <a:gd name="connsiteY5" fmla="*/ 350058 h 6953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61975" h="695325">
                  <a:moveTo>
                    <a:pt x="431031" y="350058"/>
                  </a:moveTo>
                  <a:cubicBezTo>
                    <a:pt x="430905" y="244845"/>
                    <a:pt x="479209" y="145428"/>
                    <a:pt x="562000" y="80501"/>
                  </a:cubicBezTo>
                  <a:cubicBezTo>
                    <a:pt x="413127" y="-36551"/>
                    <a:pt x="197553" y="-10756"/>
                    <a:pt x="80501" y="138117"/>
                  </a:cubicBezTo>
                  <a:cubicBezTo>
                    <a:pt x="-36551" y="286989"/>
                    <a:pt x="-10756" y="502564"/>
                    <a:pt x="138117" y="619616"/>
                  </a:cubicBezTo>
                  <a:cubicBezTo>
                    <a:pt x="262491" y="717406"/>
                    <a:pt x="437626" y="717406"/>
                    <a:pt x="562000" y="619616"/>
                  </a:cubicBezTo>
                  <a:cubicBezTo>
                    <a:pt x="479209" y="554688"/>
                    <a:pt x="430905" y="455272"/>
                    <a:pt x="431031" y="350058"/>
                  </a:cubicBezTo>
                  <a:close/>
                </a:path>
              </a:pathLst>
            </a:custGeom>
            <a:solidFill>
              <a:srgbClr val="EB001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/>
              <a:endParaRPr lang="en-US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FC655F13-44A2-4E56-BAD4-49EDFD7B63C1}"/>
                </a:ext>
              </a:extLst>
            </p:cNvPr>
            <p:cNvSpPr/>
            <p:nvPr/>
          </p:nvSpPr>
          <p:spPr bwMode="gray">
            <a:xfrm>
              <a:off x="803719" y="1309321"/>
              <a:ext cx="561975" cy="695324"/>
            </a:xfrm>
            <a:custGeom>
              <a:avLst/>
              <a:gdLst>
                <a:gd name="connsiteX0" fmla="*/ 561880 w 561975"/>
                <a:gd name="connsiteY0" fmla="*/ 349975 h 695325"/>
                <a:gd name="connsiteX1" fmla="*/ 218897 w 561975"/>
                <a:gd name="connsiteY1" fmla="*/ 692793 h 695325"/>
                <a:gd name="connsiteX2" fmla="*/ 7144 w 561975"/>
                <a:gd name="connsiteY2" fmla="*/ 619533 h 695325"/>
                <a:gd name="connsiteX3" fmla="*/ 64760 w 561975"/>
                <a:gd name="connsiteY3" fmla="*/ 138034 h 695325"/>
                <a:gd name="connsiteX4" fmla="*/ 7144 w 561975"/>
                <a:gd name="connsiteY4" fmla="*/ 80418 h 695325"/>
                <a:gd name="connsiteX5" fmla="*/ 488620 w 561975"/>
                <a:gd name="connsiteY5" fmla="*/ 138222 h 695325"/>
                <a:gd name="connsiteX6" fmla="*/ 561880 w 561975"/>
                <a:gd name="connsiteY6" fmla="*/ 349975 h 695325"/>
                <a:gd name="connsiteX7" fmla="*/ 529209 w 561975"/>
                <a:gd name="connsiteY7" fmla="*/ 562478 h 695325"/>
                <a:gd name="connsiteX8" fmla="*/ 529209 w 561975"/>
                <a:gd name="connsiteY8" fmla="*/ 551429 h 695325"/>
                <a:gd name="connsiteX9" fmla="*/ 533686 w 561975"/>
                <a:gd name="connsiteY9" fmla="*/ 551429 h 695325"/>
                <a:gd name="connsiteX10" fmla="*/ 533686 w 561975"/>
                <a:gd name="connsiteY10" fmla="*/ 549143 h 695325"/>
                <a:gd name="connsiteX11" fmla="*/ 522446 w 561975"/>
                <a:gd name="connsiteY11" fmla="*/ 549143 h 695325"/>
                <a:gd name="connsiteX12" fmla="*/ 522446 w 561975"/>
                <a:gd name="connsiteY12" fmla="*/ 551429 h 695325"/>
                <a:gd name="connsiteX13" fmla="*/ 526828 w 561975"/>
                <a:gd name="connsiteY13" fmla="*/ 551429 h 695325"/>
                <a:gd name="connsiteX14" fmla="*/ 526828 w 561975"/>
                <a:gd name="connsiteY14" fmla="*/ 562478 h 695325"/>
                <a:gd name="connsiteX15" fmla="*/ 551212 w 561975"/>
                <a:gd name="connsiteY15" fmla="*/ 562478 h 695325"/>
                <a:gd name="connsiteX16" fmla="*/ 551212 w 561975"/>
                <a:gd name="connsiteY16" fmla="*/ 549143 h 695325"/>
                <a:gd name="connsiteX17" fmla="*/ 547687 w 561975"/>
                <a:gd name="connsiteY17" fmla="*/ 549143 h 695325"/>
                <a:gd name="connsiteX18" fmla="*/ 543687 w 561975"/>
                <a:gd name="connsiteY18" fmla="*/ 558668 h 695325"/>
                <a:gd name="connsiteX19" fmla="*/ 539686 w 561975"/>
                <a:gd name="connsiteY19" fmla="*/ 549143 h 695325"/>
                <a:gd name="connsiteX20" fmla="*/ 536258 w 561975"/>
                <a:gd name="connsiteY20" fmla="*/ 549143 h 695325"/>
                <a:gd name="connsiteX21" fmla="*/ 536258 w 561975"/>
                <a:gd name="connsiteY21" fmla="*/ 562478 h 695325"/>
                <a:gd name="connsiteX22" fmla="*/ 538734 w 561975"/>
                <a:gd name="connsiteY22" fmla="*/ 562478 h 695325"/>
                <a:gd name="connsiteX23" fmla="*/ 538734 w 561975"/>
                <a:gd name="connsiteY23" fmla="*/ 552382 h 695325"/>
                <a:gd name="connsiteX24" fmla="*/ 542449 w 561975"/>
                <a:gd name="connsiteY24" fmla="*/ 561049 h 695325"/>
                <a:gd name="connsiteX25" fmla="*/ 545020 w 561975"/>
                <a:gd name="connsiteY25" fmla="*/ 561049 h 695325"/>
                <a:gd name="connsiteX26" fmla="*/ 548735 w 561975"/>
                <a:gd name="connsiteY26" fmla="*/ 552382 h 695325"/>
                <a:gd name="connsiteX27" fmla="*/ 548735 w 561975"/>
                <a:gd name="connsiteY27" fmla="*/ 562478 h 6953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561975" h="695325">
                  <a:moveTo>
                    <a:pt x="561880" y="349975"/>
                  </a:moveTo>
                  <a:cubicBezTo>
                    <a:pt x="561834" y="539354"/>
                    <a:pt x="408276" y="692838"/>
                    <a:pt x="218897" y="692793"/>
                  </a:cubicBezTo>
                  <a:cubicBezTo>
                    <a:pt x="142100" y="692774"/>
                    <a:pt x="67533" y="666976"/>
                    <a:pt x="7144" y="619533"/>
                  </a:cubicBezTo>
                  <a:cubicBezTo>
                    <a:pt x="156016" y="502481"/>
                    <a:pt x="181812" y="286906"/>
                    <a:pt x="64760" y="138034"/>
                  </a:cubicBezTo>
                  <a:cubicBezTo>
                    <a:pt x="47913" y="116607"/>
                    <a:pt x="28571" y="97265"/>
                    <a:pt x="7144" y="80418"/>
                  </a:cubicBezTo>
                  <a:cubicBezTo>
                    <a:pt x="156062" y="-36576"/>
                    <a:pt x="371626" y="-10696"/>
                    <a:pt x="488620" y="138222"/>
                  </a:cubicBezTo>
                  <a:cubicBezTo>
                    <a:pt x="536063" y="198612"/>
                    <a:pt x="561861" y="273179"/>
                    <a:pt x="561880" y="349975"/>
                  </a:cubicBezTo>
                  <a:close/>
                  <a:moveTo>
                    <a:pt x="529209" y="562478"/>
                  </a:moveTo>
                  <a:lnTo>
                    <a:pt x="529209" y="551429"/>
                  </a:lnTo>
                  <a:lnTo>
                    <a:pt x="533686" y="551429"/>
                  </a:lnTo>
                  <a:lnTo>
                    <a:pt x="533686" y="549143"/>
                  </a:lnTo>
                  <a:lnTo>
                    <a:pt x="522446" y="549143"/>
                  </a:lnTo>
                  <a:lnTo>
                    <a:pt x="522446" y="551429"/>
                  </a:lnTo>
                  <a:lnTo>
                    <a:pt x="526828" y="551429"/>
                  </a:lnTo>
                  <a:lnTo>
                    <a:pt x="526828" y="562478"/>
                  </a:lnTo>
                  <a:close/>
                  <a:moveTo>
                    <a:pt x="551212" y="562478"/>
                  </a:moveTo>
                  <a:lnTo>
                    <a:pt x="551212" y="549143"/>
                  </a:lnTo>
                  <a:lnTo>
                    <a:pt x="547687" y="549143"/>
                  </a:lnTo>
                  <a:lnTo>
                    <a:pt x="543687" y="558668"/>
                  </a:lnTo>
                  <a:lnTo>
                    <a:pt x="539686" y="549143"/>
                  </a:lnTo>
                  <a:lnTo>
                    <a:pt x="536258" y="549143"/>
                  </a:lnTo>
                  <a:lnTo>
                    <a:pt x="536258" y="562478"/>
                  </a:lnTo>
                  <a:lnTo>
                    <a:pt x="538734" y="562478"/>
                  </a:lnTo>
                  <a:lnTo>
                    <a:pt x="538734" y="552382"/>
                  </a:lnTo>
                  <a:lnTo>
                    <a:pt x="542449" y="561049"/>
                  </a:lnTo>
                  <a:lnTo>
                    <a:pt x="545020" y="561049"/>
                  </a:lnTo>
                  <a:lnTo>
                    <a:pt x="548735" y="552382"/>
                  </a:lnTo>
                  <a:lnTo>
                    <a:pt x="548735" y="562478"/>
                  </a:lnTo>
                  <a:close/>
                </a:path>
              </a:pathLst>
            </a:custGeom>
            <a:solidFill>
              <a:srgbClr val="F79E1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455866780"/>
      </p:ext>
    </p:extLst>
  </p:cSld>
  <p:clrMapOvr>
    <a:masterClrMapping/>
  </p:clrMapOvr>
  <p:hf hdr="0" dt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Custom Image -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0" y="0"/>
            <a:ext cx="4572000" cy="5143500"/>
          </a:xfrm>
        </p:spPr>
        <p:txBody>
          <a:bodyPr bIns="2011680" anchor="b" anchorCtr="0"/>
          <a:lstStyle>
            <a:lvl1pPr marL="0" indent="0" algn="ctr">
              <a:buNone/>
              <a:defRPr sz="1200">
                <a:solidFill>
                  <a:srgbClr val="B9B9B9"/>
                </a:solidFill>
                <a:latin typeface="+mn-lt"/>
              </a:defRPr>
            </a:lvl1pPr>
          </a:lstStyle>
          <a:p>
            <a:r>
              <a:rPr lang="en-US" dirty="0"/>
              <a:t>Click icon to add image.</a:t>
            </a:r>
            <a:br>
              <a:rPr lang="en-US" dirty="0"/>
            </a:br>
            <a:r>
              <a:rPr lang="en-US" dirty="0"/>
              <a:t>Get </a:t>
            </a:r>
            <a:r>
              <a:rPr lang="en-US" dirty="0" err="1"/>
              <a:t>Mastercard</a:t>
            </a:r>
            <a:r>
              <a:rPr lang="en-US" dirty="0"/>
              <a:t> approved photography and</a:t>
            </a:r>
            <a:br>
              <a:rPr lang="en-US" dirty="0"/>
            </a:br>
            <a:r>
              <a:rPr lang="en-US" dirty="0"/>
              <a:t>imagery guidelines at designcenter.mastercard.com.</a:t>
            </a:r>
          </a:p>
        </p:txBody>
      </p:sp>
      <p:sp>
        <p:nvSpPr>
          <p:cNvPr id="10" name="TitleSlideNameDept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4736592" y="3466431"/>
            <a:ext cx="3124200" cy="170816"/>
          </a:xfrm>
        </p:spPr>
        <p:txBody>
          <a:bodyPr vert="horz" lIns="91440" tIns="0" rIns="91440" bIns="45720" rtlCol="0" anchor="t" anchorCtr="0">
            <a:spAutoFit/>
          </a:bodyPr>
          <a:lstStyle>
            <a:lvl1pPr marL="115885" indent="-115885">
              <a:buNone/>
              <a:defRPr lang="en-US" sz="900" b="0" cap="none" baseline="0" dirty="0" smtClean="0">
                <a:latin typeface="MarkForMC Nrw O" panose="020B0506020201010104" pitchFamily="34" charset="0"/>
              </a:defRPr>
            </a:lvl1pPr>
          </a:lstStyle>
          <a:p>
            <a:pPr marL="0" lvl="0" indent="0"/>
            <a:r>
              <a:rPr lang="en-US" dirty="0"/>
              <a:t>Click to add presenter name, department</a:t>
            </a:r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2"/>
          </p:nvPr>
        </p:nvSpPr>
        <p:spPr bwMode="gray">
          <a:xfrm>
            <a:off x="4736592" y="3166956"/>
            <a:ext cx="3123564" cy="273844"/>
          </a:xfrm>
          <a:prstGeom prst="rect">
            <a:avLst/>
          </a:prstGeom>
        </p:spPr>
        <p:txBody>
          <a:bodyPr vert="horz" lIns="91440" tIns="45720" rIns="91440" bIns="0" rtlCol="0" anchor="b" anchorCtr="0"/>
          <a:lstStyle>
            <a:lvl1pPr>
              <a:defRPr lang="en-US" sz="900" cap="none" smtClean="0">
                <a:latin typeface="MarkForMC Nrw O" panose="020B0506020201010104" pitchFamily="34" charset="0"/>
              </a:defRPr>
            </a:lvl1pPr>
          </a:lstStyle>
          <a:p>
            <a:r>
              <a:rPr lang="en-US"/>
              <a:t>October 31, 2023</a:t>
            </a:r>
            <a:endParaRPr lang="en-US" dirty="0"/>
          </a:p>
        </p:txBody>
      </p:sp>
      <p:sp>
        <p:nvSpPr>
          <p:cNvPr id="24" name="Subtitle 2"/>
          <p:cNvSpPr>
            <a:spLocks noGrp="1"/>
          </p:cNvSpPr>
          <p:nvPr>
            <p:ph type="subTitle" idx="1"/>
          </p:nvPr>
        </p:nvSpPr>
        <p:spPr bwMode="gray">
          <a:xfrm>
            <a:off x="4736592" y="2717911"/>
            <a:ext cx="4365625" cy="498725"/>
          </a:xfrm>
          <a:ln>
            <a:noFill/>
          </a:ln>
        </p:spPr>
        <p:txBody>
          <a:bodyPr rIns="91440"/>
          <a:lstStyle>
            <a:lvl1pPr marL="0" indent="0" algn="l">
              <a:lnSpc>
                <a:spcPct val="80000"/>
              </a:lnSpc>
              <a:buNone/>
              <a:defRPr sz="1400">
                <a:solidFill>
                  <a:schemeClr val="tx1"/>
                </a:solidFill>
                <a:latin typeface="Mark Offc For MC" panose="020B0504020101010102" pitchFamily="34" charset="0"/>
              </a:defRPr>
            </a:lvl1pPr>
            <a:lvl2pPr marL="342891" indent="0" algn="ctr">
              <a:buNone/>
              <a:defRPr sz="1500"/>
            </a:lvl2pPr>
            <a:lvl3pPr marL="685783" indent="0" algn="ctr">
              <a:buNone/>
              <a:defRPr sz="1351"/>
            </a:lvl3pPr>
            <a:lvl4pPr marL="1028674" indent="0" algn="ctr">
              <a:buNone/>
              <a:defRPr sz="1200"/>
            </a:lvl4pPr>
            <a:lvl5pPr marL="1371566" indent="0" algn="ctr">
              <a:buNone/>
              <a:defRPr sz="1200"/>
            </a:lvl5pPr>
            <a:lvl6pPr marL="1714457" indent="0" algn="ctr">
              <a:buNone/>
              <a:defRPr sz="1200"/>
            </a:lvl6pPr>
            <a:lvl7pPr marL="2057349" indent="0" algn="ctr">
              <a:buNone/>
              <a:defRPr sz="1200"/>
            </a:lvl7pPr>
            <a:lvl8pPr marL="2400240" indent="0" algn="ctr">
              <a:buNone/>
              <a:defRPr sz="1200"/>
            </a:lvl8pPr>
            <a:lvl9pPr marL="2743131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3" name="Title 1"/>
          <p:cNvSpPr>
            <a:spLocks noGrp="1"/>
          </p:cNvSpPr>
          <p:nvPr>
            <p:ph type="ctrTitle"/>
          </p:nvPr>
        </p:nvSpPr>
        <p:spPr bwMode="gray">
          <a:xfrm>
            <a:off x="4736592" y="1627432"/>
            <a:ext cx="4365625" cy="1077218"/>
          </a:xfrm>
          <a:ln>
            <a:noFill/>
          </a:ln>
        </p:spPr>
        <p:txBody>
          <a:bodyPr rIns="91440" anchor="b"/>
          <a:lstStyle>
            <a:lvl1pPr algn="l">
              <a:lnSpc>
                <a:spcPct val="80000"/>
              </a:lnSpc>
              <a:defRPr sz="4000" b="0">
                <a:solidFill>
                  <a:schemeClr val="tx1"/>
                </a:solidFill>
                <a:latin typeface="Mark Offc For MC Extra Light" panose="020B0404020101010102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grpSp>
        <p:nvGrpSpPr>
          <p:cNvPr id="15" name="Graphic 9">
            <a:extLst>
              <a:ext uri="{FF2B5EF4-FFF2-40B4-BE49-F238E27FC236}">
                <a16:creationId xmlns:a16="http://schemas.microsoft.com/office/drawing/2014/main" id="{D987D73D-9CBF-4D4A-9C6D-C2A04B4CDB30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8288899" y="258318"/>
            <a:ext cx="595440" cy="370757"/>
            <a:chOff x="248864" y="1309239"/>
            <a:chExt cx="1116830" cy="695406"/>
          </a:xfrm>
        </p:grpSpPr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C2464F4A-AA1E-412C-AC88-620F9044FCB8}"/>
                </a:ext>
              </a:extLst>
            </p:cNvPr>
            <p:cNvSpPr/>
            <p:nvPr/>
          </p:nvSpPr>
          <p:spPr bwMode="gray">
            <a:xfrm>
              <a:off x="653702" y="1382595"/>
              <a:ext cx="314326" cy="552451"/>
            </a:xfrm>
            <a:custGeom>
              <a:avLst/>
              <a:gdLst>
                <a:gd name="connsiteX0" fmla="*/ 7144 w 314325"/>
                <a:gd name="connsiteY0" fmla="*/ 7144 h 552450"/>
                <a:gd name="connsiteX1" fmla="*/ 307181 w 314325"/>
                <a:gd name="connsiteY1" fmla="*/ 7144 h 552450"/>
                <a:gd name="connsiteX2" fmla="*/ 307181 w 314325"/>
                <a:gd name="connsiteY2" fmla="*/ 546354 h 552450"/>
                <a:gd name="connsiteX3" fmla="*/ 7144 w 314325"/>
                <a:gd name="connsiteY3" fmla="*/ 546354 h 552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14325" h="552450">
                  <a:moveTo>
                    <a:pt x="7144" y="7144"/>
                  </a:moveTo>
                  <a:lnTo>
                    <a:pt x="307181" y="7144"/>
                  </a:lnTo>
                  <a:lnTo>
                    <a:pt x="307181" y="546354"/>
                  </a:lnTo>
                  <a:lnTo>
                    <a:pt x="7144" y="546354"/>
                  </a:lnTo>
                  <a:close/>
                </a:path>
              </a:pathLst>
            </a:custGeom>
            <a:solidFill>
              <a:srgbClr val="FF5F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/>
              <a:endParaRPr lang="en-US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6659E2ED-8B2B-4FC0-8A68-EBBCA7E2F04A}"/>
                </a:ext>
              </a:extLst>
            </p:cNvPr>
            <p:cNvSpPr/>
            <p:nvPr/>
          </p:nvSpPr>
          <p:spPr bwMode="gray">
            <a:xfrm>
              <a:off x="248864" y="1309239"/>
              <a:ext cx="561975" cy="695324"/>
            </a:xfrm>
            <a:custGeom>
              <a:avLst/>
              <a:gdLst>
                <a:gd name="connsiteX0" fmla="*/ 431031 w 561975"/>
                <a:gd name="connsiteY0" fmla="*/ 350058 h 695325"/>
                <a:gd name="connsiteX1" fmla="*/ 562000 w 561975"/>
                <a:gd name="connsiteY1" fmla="*/ 80501 h 695325"/>
                <a:gd name="connsiteX2" fmla="*/ 80501 w 561975"/>
                <a:gd name="connsiteY2" fmla="*/ 138117 h 695325"/>
                <a:gd name="connsiteX3" fmla="*/ 138117 w 561975"/>
                <a:gd name="connsiteY3" fmla="*/ 619616 h 695325"/>
                <a:gd name="connsiteX4" fmla="*/ 562000 w 561975"/>
                <a:gd name="connsiteY4" fmla="*/ 619616 h 695325"/>
                <a:gd name="connsiteX5" fmla="*/ 431031 w 561975"/>
                <a:gd name="connsiteY5" fmla="*/ 350058 h 6953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61975" h="695325">
                  <a:moveTo>
                    <a:pt x="431031" y="350058"/>
                  </a:moveTo>
                  <a:cubicBezTo>
                    <a:pt x="430905" y="244845"/>
                    <a:pt x="479209" y="145428"/>
                    <a:pt x="562000" y="80501"/>
                  </a:cubicBezTo>
                  <a:cubicBezTo>
                    <a:pt x="413127" y="-36551"/>
                    <a:pt x="197553" y="-10756"/>
                    <a:pt x="80501" y="138117"/>
                  </a:cubicBezTo>
                  <a:cubicBezTo>
                    <a:pt x="-36551" y="286989"/>
                    <a:pt x="-10756" y="502564"/>
                    <a:pt x="138117" y="619616"/>
                  </a:cubicBezTo>
                  <a:cubicBezTo>
                    <a:pt x="262491" y="717406"/>
                    <a:pt x="437626" y="717406"/>
                    <a:pt x="562000" y="619616"/>
                  </a:cubicBezTo>
                  <a:cubicBezTo>
                    <a:pt x="479209" y="554688"/>
                    <a:pt x="430905" y="455272"/>
                    <a:pt x="431031" y="350058"/>
                  </a:cubicBezTo>
                  <a:close/>
                </a:path>
              </a:pathLst>
            </a:custGeom>
            <a:solidFill>
              <a:srgbClr val="EB001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/>
              <a:endParaRPr lang="en-US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B48818FD-F4B8-4217-A2EA-8851C8CEE666}"/>
                </a:ext>
              </a:extLst>
            </p:cNvPr>
            <p:cNvSpPr/>
            <p:nvPr/>
          </p:nvSpPr>
          <p:spPr bwMode="gray">
            <a:xfrm>
              <a:off x="803719" y="1309321"/>
              <a:ext cx="561975" cy="695324"/>
            </a:xfrm>
            <a:custGeom>
              <a:avLst/>
              <a:gdLst>
                <a:gd name="connsiteX0" fmla="*/ 561880 w 561975"/>
                <a:gd name="connsiteY0" fmla="*/ 349975 h 695325"/>
                <a:gd name="connsiteX1" fmla="*/ 218897 w 561975"/>
                <a:gd name="connsiteY1" fmla="*/ 692793 h 695325"/>
                <a:gd name="connsiteX2" fmla="*/ 7144 w 561975"/>
                <a:gd name="connsiteY2" fmla="*/ 619533 h 695325"/>
                <a:gd name="connsiteX3" fmla="*/ 64760 w 561975"/>
                <a:gd name="connsiteY3" fmla="*/ 138034 h 695325"/>
                <a:gd name="connsiteX4" fmla="*/ 7144 w 561975"/>
                <a:gd name="connsiteY4" fmla="*/ 80418 h 695325"/>
                <a:gd name="connsiteX5" fmla="*/ 488620 w 561975"/>
                <a:gd name="connsiteY5" fmla="*/ 138222 h 695325"/>
                <a:gd name="connsiteX6" fmla="*/ 561880 w 561975"/>
                <a:gd name="connsiteY6" fmla="*/ 349975 h 695325"/>
                <a:gd name="connsiteX7" fmla="*/ 529209 w 561975"/>
                <a:gd name="connsiteY7" fmla="*/ 562478 h 695325"/>
                <a:gd name="connsiteX8" fmla="*/ 529209 w 561975"/>
                <a:gd name="connsiteY8" fmla="*/ 551429 h 695325"/>
                <a:gd name="connsiteX9" fmla="*/ 533686 w 561975"/>
                <a:gd name="connsiteY9" fmla="*/ 551429 h 695325"/>
                <a:gd name="connsiteX10" fmla="*/ 533686 w 561975"/>
                <a:gd name="connsiteY10" fmla="*/ 549143 h 695325"/>
                <a:gd name="connsiteX11" fmla="*/ 522446 w 561975"/>
                <a:gd name="connsiteY11" fmla="*/ 549143 h 695325"/>
                <a:gd name="connsiteX12" fmla="*/ 522446 w 561975"/>
                <a:gd name="connsiteY12" fmla="*/ 551429 h 695325"/>
                <a:gd name="connsiteX13" fmla="*/ 526828 w 561975"/>
                <a:gd name="connsiteY13" fmla="*/ 551429 h 695325"/>
                <a:gd name="connsiteX14" fmla="*/ 526828 w 561975"/>
                <a:gd name="connsiteY14" fmla="*/ 562478 h 695325"/>
                <a:gd name="connsiteX15" fmla="*/ 551212 w 561975"/>
                <a:gd name="connsiteY15" fmla="*/ 562478 h 695325"/>
                <a:gd name="connsiteX16" fmla="*/ 551212 w 561975"/>
                <a:gd name="connsiteY16" fmla="*/ 549143 h 695325"/>
                <a:gd name="connsiteX17" fmla="*/ 547687 w 561975"/>
                <a:gd name="connsiteY17" fmla="*/ 549143 h 695325"/>
                <a:gd name="connsiteX18" fmla="*/ 543687 w 561975"/>
                <a:gd name="connsiteY18" fmla="*/ 558668 h 695325"/>
                <a:gd name="connsiteX19" fmla="*/ 539686 w 561975"/>
                <a:gd name="connsiteY19" fmla="*/ 549143 h 695325"/>
                <a:gd name="connsiteX20" fmla="*/ 536258 w 561975"/>
                <a:gd name="connsiteY20" fmla="*/ 549143 h 695325"/>
                <a:gd name="connsiteX21" fmla="*/ 536258 w 561975"/>
                <a:gd name="connsiteY21" fmla="*/ 562478 h 695325"/>
                <a:gd name="connsiteX22" fmla="*/ 538734 w 561975"/>
                <a:gd name="connsiteY22" fmla="*/ 562478 h 695325"/>
                <a:gd name="connsiteX23" fmla="*/ 538734 w 561975"/>
                <a:gd name="connsiteY23" fmla="*/ 552382 h 695325"/>
                <a:gd name="connsiteX24" fmla="*/ 542449 w 561975"/>
                <a:gd name="connsiteY24" fmla="*/ 561049 h 695325"/>
                <a:gd name="connsiteX25" fmla="*/ 545020 w 561975"/>
                <a:gd name="connsiteY25" fmla="*/ 561049 h 695325"/>
                <a:gd name="connsiteX26" fmla="*/ 548735 w 561975"/>
                <a:gd name="connsiteY26" fmla="*/ 552382 h 695325"/>
                <a:gd name="connsiteX27" fmla="*/ 548735 w 561975"/>
                <a:gd name="connsiteY27" fmla="*/ 562478 h 6953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561975" h="695325">
                  <a:moveTo>
                    <a:pt x="561880" y="349975"/>
                  </a:moveTo>
                  <a:cubicBezTo>
                    <a:pt x="561834" y="539354"/>
                    <a:pt x="408276" y="692838"/>
                    <a:pt x="218897" y="692793"/>
                  </a:cubicBezTo>
                  <a:cubicBezTo>
                    <a:pt x="142100" y="692774"/>
                    <a:pt x="67533" y="666976"/>
                    <a:pt x="7144" y="619533"/>
                  </a:cubicBezTo>
                  <a:cubicBezTo>
                    <a:pt x="156016" y="502481"/>
                    <a:pt x="181812" y="286906"/>
                    <a:pt x="64760" y="138034"/>
                  </a:cubicBezTo>
                  <a:cubicBezTo>
                    <a:pt x="47913" y="116607"/>
                    <a:pt x="28571" y="97265"/>
                    <a:pt x="7144" y="80418"/>
                  </a:cubicBezTo>
                  <a:cubicBezTo>
                    <a:pt x="156062" y="-36576"/>
                    <a:pt x="371626" y="-10696"/>
                    <a:pt x="488620" y="138222"/>
                  </a:cubicBezTo>
                  <a:cubicBezTo>
                    <a:pt x="536063" y="198612"/>
                    <a:pt x="561861" y="273179"/>
                    <a:pt x="561880" y="349975"/>
                  </a:cubicBezTo>
                  <a:close/>
                  <a:moveTo>
                    <a:pt x="529209" y="562478"/>
                  </a:moveTo>
                  <a:lnTo>
                    <a:pt x="529209" y="551429"/>
                  </a:lnTo>
                  <a:lnTo>
                    <a:pt x="533686" y="551429"/>
                  </a:lnTo>
                  <a:lnTo>
                    <a:pt x="533686" y="549143"/>
                  </a:lnTo>
                  <a:lnTo>
                    <a:pt x="522446" y="549143"/>
                  </a:lnTo>
                  <a:lnTo>
                    <a:pt x="522446" y="551429"/>
                  </a:lnTo>
                  <a:lnTo>
                    <a:pt x="526828" y="551429"/>
                  </a:lnTo>
                  <a:lnTo>
                    <a:pt x="526828" y="562478"/>
                  </a:lnTo>
                  <a:close/>
                  <a:moveTo>
                    <a:pt x="551212" y="562478"/>
                  </a:moveTo>
                  <a:lnTo>
                    <a:pt x="551212" y="549143"/>
                  </a:lnTo>
                  <a:lnTo>
                    <a:pt x="547687" y="549143"/>
                  </a:lnTo>
                  <a:lnTo>
                    <a:pt x="543687" y="558668"/>
                  </a:lnTo>
                  <a:lnTo>
                    <a:pt x="539686" y="549143"/>
                  </a:lnTo>
                  <a:lnTo>
                    <a:pt x="536258" y="549143"/>
                  </a:lnTo>
                  <a:lnTo>
                    <a:pt x="536258" y="562478"/>
                  </a:lnTo>
                  <a:lnTo>
                    <a:pt x="538734" y="562478"/>
                  </a:lnTo>
                  <a:lnTo>
                    <a:pt x="538734" y="552382"/>
                  </a:lnTo>
                  <a:lnTo>
                    <a:pt x="542449" y="561049"/>
                  </a:lnTo>
                  <a:lnTo>
                    <a:pt x="545020" y="561049"/>
                  </a:lnTo>
                  <a:lnTo>
                    <a:pt x="548735" y="552382"/>
                  </a:lnTo>
                  <a:lnTo>
                    <a:pt x="548735" y="562478"/>
                  </a:lnTo>
                  <a:close/>
                </a:path>
              </a:pathLst>
            </a:custGeom>
            <a:solidFill>
              <a:srgbClr val="F79E1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611869305"/>
      </p:ext>
    </p:extLst>
  </p:cSld>
  <p:clrMapOvr>
    <a:masterClrMapping/>
  </p:clrMapOvr>
  <p:hf hdr="0" dt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able of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lide Number Placeholder 5"/>
          <p:cNvSpPr>
            <a:spLocks noGrp="1"/>
          </p:cNvSpPr>
          <p:nvPr>
            <p:ph type="sldNum" sz="quarter" idx="17"/>
          </p:nvPr>
        </p:nvSpPr>
        <p:spPr bwMode="gray"/>
        <p:txBody>
          <a:bodyPr/>
          <a:lstStyle/>
          <a:p>
            <a:fld id="{3AB2DB24-5BB4-4F1B-973E-A10FA63DFB9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16"/>
          </p:nvPr>
        </p:nvSpPr>
        <p:spPr bwMode="gray"/>
        <p:txBody>
          <a:bodyPr/>
          <a:lstStyle/>
          <a:p>
            <a:r>
              <a:rPr lang="en-US"/>
              <a:t>Payment Innovation</a:t>
            </a:r>
            <a:endParaRPr lang="en-US" dirty="0"/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15"/>
          </p:nvPr>
        </p:nvSpPr>
        <p:spPr bwMode="gray"/>
        <p:txBody>
          <a:bodyPr/>
          <a:lstStyle/>
          <a:p>
            <a:r>
              <a:rPr lang="en-US"/>
              <a:t>October 31, 2023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4"/>
          </p:nvPr>
        </p:nvSpPr>
        <p:spPr bwMode="gray">
          <a:xfrm>
            <a:off x="3119438" y="727556"/>
            <a:ext cx="5458009" cy="3588412"/>
          </a:xfrm>
        </p:spPr>
        <p:txBody>
          <a:bodyPr/>
          <a:lstStyle>
            <a:lvl1pPr marL="342900" indent="-342900">
              <a:buSzPct val="50000"/>
              <a:buFont typeface="+mj-lt"/>
              <a:buAutoNum type="arabicPeriod"/>
              <a:defRPr sz="2200"/>
            </a:lvl1pPr>
            <a:lvl2pPr marL="511175" indent="-138113">
              <a:buFont typeface="Mark Offc For MC" panose="020B0604020202020204" pitchFamily="34" charset="0"/>
              <a:buChar char="•"/>
              <a:defRPr/>
            </a:lvl2pPr>
            <a:lvl3pPr marL="514350" indent="0">
              <a:buNone/>
              <a:defRPr/>
            </a:lvl3pPr>
            <a:lvl4pPr marL="747713" indent="-131763">
              <a:defRPr/>
            </a:lvl4pPr>
            <a:lvl5pPr marL="855663" indent="-114300"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2" name="Subtitle 2"/>
          <p:cNvSpPr>
            <a:spLocks noGrp="1"/>
          </p:cNvSpPr>
          <p:nvPr>
            <p:ph type="body" idx="13" hasCustomPrompt="1"/>
          </p:nvPr>
        </p:nvSpPr>
        <p:spPr bwMode="gray">
          <a:xfrm>
            <a:off x="164592" y="727556"/>
            <a:ext cx="2725896" cy="717196"/>
          </a:xfrm>
        </p:spPr>
        <p:txBody>
          <a:bodyPr rIns="0" anchor="t" anchorCtr="0"/>
          <a:lstStyle>
            <a:lvl1pPr marL="0" indent="0">
              <a:buNone/>
              <a:defRPr sz="1400" b="0">
                <a:latin typeface="Mark Offc For MC" panose="020B0504020101010102" pitchFamily="34" charset="0"/>
              </a:defRPr>
            </a:lvl1pPr>
            <a:lvl2pPr marL="342891" indent="0">
              <a:buNone/>
              <a:defRPr sz="1500" b="1"/>
            </a:lvl2pPr>
            <a:lvl3pPr marL="685783" indent="0">
              <a:buNone/>
              <a:defRPr sz="1351" b="1"/>
            </a:lvl3pPr>
            <a:lvl4pPr marL="1028674" indent="0">
              <a:buNone/>
              <a:defRPr sz="1200" b="1"/>
            </a:lvl4pPr>
            <a:lvl5pPr marL="1371566" indent="0">
              <a:buNone/>
              <a:defRPr sz="1200" b="1"/>
            </a:lvl5pPr>
            <a:lvl6pPr marL="1714457" indent="0">
              <a:buNone/>
              <a:defRPr sz="1200" b="1"/>
            </a:lvl6pPr>
            <a:lvl7pPr marL="2057349" indent="0">
              <a:buNone/>
              <a:defRPr sz="1200" b="1"/>
            </a:lvl7pPr>
            <a:lvl8pPr marL="2400240" indent="0">
              <a:buNone/>
              <a:defRPr sz="1200" b="1"/>
            </a:lvl8pPr>
            <a:lvl9pPr marL="2743131" indent="0">
              <a:buNone/>
              <a:defRPr sz="1200" b="1"/>
            </a:lvl9pPr>
          </a:lstStyle>
          <a:p>
            <a:pPr lvl="0"/>
            <a:r>
              <a:rPr lang="en-US" dirty="0"/>
              <a:t>Click to add subtitle or secondary text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 bwMode="gray">
          <a:xfrm>
            <a:off x="164594" y="192025"/>
            <a:ext cx="8412854" cy="31089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33874020"/>
      </p:ext>
    </p:extLst>
  </p:cSld>
  <p:clrMapOvr>
    <a:masterClrMapping/>
  </p:clrMapOvr>
  <p:hf hdr="0" dt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lide Number Placeholder 5"/>
          <p:cNvSpPr>
            <a:spLocks noGrp="1"/>
          </p:cNvSpPr>
          <p:nvPr>
            <p:ph type="sldNum" sz="quarter" idx="17"/>
          </p:nvPr>
        </p:nvSpPr>
        <p:spPr bwMode="gray"/>
        <p:txBody>
          <a:bodyPr/>
          <a:lstStyle/>
          <a:p>
            <a:fld id="{3AB2DB24-5BB4-4F1B-973E-A10FA63DFB9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16"/>
          </p:nvPr>
        </p:nvSpPr>
        <p:spPr bwMode="gray"/>
        <p:txBody>
          <a:bodyPr/>
          <a:lstStyle/>
          <a:p>
            <a:r>
              <a:rPr lang="en-US"/>
              <a:t>Payment Innovation</a:t>
            </a:r>
            <a:endParaRPr lang="en-US" dirty="0"/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15"/>
          </p:nvPr>
        </p:nvSpPr>
        <p:spPr bwMode="gray"/>
        <p:txBody>
          <a:bodyPr/>
          <a:lstStyle/>
          <a:p>
            <a:r>
              <a:rPr lang="en-US"/>
              <a:t>October 31, 2023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4"/>
          </p:nvPr>
        </p:nvSpPr>
        <p:spPr bwMode="gray">
          <a:xfrm>
            <a:off x="3119438" y="192088"/>
            <a:ext cx="5458009" cy="412574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90875506"/>
      </p:ext>
    </p:extLst>
  </p:cSld>
  <p:clrMapOvr>
    <a:masterClrMapping/>
  </p:clrMapOvr>
  <p:hf hdr="0" dt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(long)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lide Number Placeholder 5"/>
          <p:cNvSpPr>
            <a:spLocks noGrp="1"/>
          </p:cNvSpPr>
          <p:nvPr>
            <p:ph type="sldNum" sz="quarter" idx="17"/>
          </p:nvPr>
        </p:nvSpPr>
        <p:spPr bwMode="gray"/>
        <p:txBody>
          <a:bodyPr/>
          <a:lstStyle/>
          <a:p>
            <a:fld id="{3AB2DB24-5BB4-4F1B-973E-A10FA63DFB9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16"/>
          </p:nvPr>
        </p:nvSpPr>
        <p:spPr bwMode="gray"/>
        <p:txBody>
          <a:bodyPr/>
          <a:lstStyle/>
          <a:p>
            <a:r>
              <a:rPr lang="en-US"/>
              <a:t>Payment Innovation</a:t>
            </a:r>
            <a:endParaRPr lang="en-US" dirty="0"/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15"/>
          </p:nvPr>
        </p:nvSpPr>
        <p:spPr bwMode="gray"/>
        <p:txBody>
          <a:bodyPr/>
          <a:lstStyle/>
          <a:p>
            <a:r>
              <a:rPr lang="en-US"/>
              <a:t>October 31, 2023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4"/>
          </p:nvPr>
        </p:nvSpPr>
        <p:spPr bwMode="gray">
          <a:xfrm>
            <a:off x="164594" y="727556"/>
            <a:ext cx="8412854" cy="359298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 bwMode="gray">
          <a:xfrm>
            <a:off x="164594" y="192025"/>
            <a:ext cx="8412854" cy="31089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84831659"/>
      </p:ext>
    </p:extLst>
  </p:cSld>
  <p:clrMapOvr>
    <a:masterClrMapping/>
  </p:clrMapOvr>
  <p:hf hdr="0" dt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(long), Subtitle and Content (no bullet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lide Number Placeholder 5"/>
          <p:cNvSpPr>
            <a:spLocks noGrp="1"/>
          </p:cNvSpPr>
          <p:nvPr>
            <p:ph type="sldNum" sz="quarter" idx="17"/>
          </p:nvPr>
        </p:nvSpPr>
        <p:spPr bwMode="gray"/>
        <p:txBody>
          <a:bodyPr/>
          <a:lstStyle/>
          <a:p>
            <a:fld id="{3AB2DB24-5BB4-4F1B-973E-A10FA63DFB9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16"/>
          </p:nvPr>
        </p:nvSpPr>
        <p:spPr bwMode="gray"/>
        <p:txBody>
          <a:bodyPr/>
          <a:lstStyle/>
          <a:p>
            <a:r>
              <a:rPr lang="en-US"/>
              <a:t>Payment Innovation</a:t>
            </a:r>
            <a:endParaRPr lang="en-US" dirty="0"/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15"/>
          </p:nvPr>
        </p:nvSpPr>
        <p:spPr bwMode="gray"/>
        <p:txBody>
          <a:bodyPr/>
          <a:lstStyle/>
          <a:p>
            <a:r>
              <a:rPr lang="en-US"/>
              <a:t>October 31, 2023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4"/>
          </p:nvPr>
        </p:nvSpPr>
        <p:spPr bwMode="gray">
          <a:xfrm>
            <a:off x="3119438" y="727556"/>
            <a:ext cx="5458009" cy="3593789"/>
          </a:xfrm>
        </p:spPr>
        <p:txBody>
          <a:bodyPr/>
          <a:lstStyle>
            <a:lvl1pPr marL="0" indent="0">
              <a:buNone/>
              <a:defRPr/>
            </a:lvl1pPr>
            <a:lvl2pPr marL="147634" indent="0">
              <a:buNone/>
              <a:defRPr/>
            </a:lvl2pPr>
            <a:lvl3pPr marL="287330" indent="0">
              <a:buNone/>
              <a:defRPr/>
            </a:lvl3pPr>
            <a:lvl4pPr marL="434964" indent="0">
              <a:buNone/>
              <a:defRPr/>
            </a:lvl4pPr>
            <a:lvl5pPr marL="568311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Subtitle 2"/>
          <p:cNvSpPr>
            <a:spLocks noGrp="1"/>
          </p:cNvSpPr>
          <p:nvPr>
            <p:ph type="body" idx="13" hasCustomPrompt="1"/>
          </p:nvPr>
        </p:nvSpPr>
        <p:spPr bwMode="gray">
          <a:xfrm>
            <a:off x="164592" y="727556"/>
            <a:ext cx="2725896" cy="717196"/>
          </a:xfrm>
        </p:spPr>
        <p:txBody>
          <a:bodyPr rIns="0" anchor="t" anchorCtr="0"/>
          <a:lstStyle>
            <a:lvl1pPr marL="0" indent="0">
              <a:buNone/>
              <a:defRPr sz="1400" b="0">
                <a:latin typeface="Mark Offc For MC" panose="020B0504020101010102" pitchFamily="34" charset="0"/>
              </a:defRPr>
            </a:lvl1pPr>
            <a:lvl2pPr marL="342891" indent="0">
              <a:buNone/>
              <a:defRPr sz="1500" b="1"/>
            </a:lvl2pPr>
            <a:lvl3pPr marL="685783" indent="0">
              <a:buNone/>
              <a:defRPr sz="1351" b="1"/>
            </a:lvl3pPr>
            <a:lvl4pPr marL="1028674" indent="0">
              <a:buNone/>
              <a:defRPr sz="1200" b="1"/>
            </a:lvl4pPr>
            <a:lvl5pPr marL="1371566" indent="0">
              <a:buNone/>
              <a:defRPr sz="1200" b="1"/>
            </a:lvl5pPr>
            <a:lvl6pPr marL="1714457" indent="0">
              <a:buNone/>
              <a:defRPr sz="1200" b="1"/>
            </a:lvl6pPr>
            <a:lvl7pPr marL="2057349" indent="0">
              <a:buNone/>
              <a:defRPr sz="1200" b="1"/>
            </a:lvl7pPr>
            <a:lvl8pPr marL="2400240" indent="0">
              <a:buNone/>
              <a:defRPr sz="1200" b="1"/>
            </a:lvl8pPr>
            <a:lvl9pPr marL="2743131" indent="0">
              <a:buNone/>
              <a:defRPr sz="1200" b="1"/>
            </a:lvl9pPr>
          </a:lstStyle>
          <a:p>
            <a:pPr lvl="0"/>
            <a:r>
              <a:rPr lang="en-US" dirty="0"/>
              <a:t>Click to add subtitle or secondary text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 bwMode="gray">
          <a:xfrm>
            <a:off x="164594" y="192025"/>
            <a:ext cx="8412854" cy="31089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36867911"/>
      </p:ext>
    </p:extLst>
  </p:cSld>
  <p:clrMapOvr>
    <a:masterClrMapping/>
  </p:clrMapOvr>
  <p:hf hdr="0" dt="0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Legal"/>
          <p:cNvSpPr/>
          <p:nvPr/>
        </p:nvSpPr>
        <p:spPr bwMode="gray">
          <a:xfrm>
            <a:off x="8980380" y="3130867"/>
            <a:ext cx="90964" cy="1481030"/>
          </a:xfrm>
          <a:prstGeom prst="rect">
            <a:avLst/>
          </a:prstGeom>
        </p:spPr>
        <p:txBody>
          <a:bodyPr vert="vert270" wrap="none" lIns="91440" tIns="45720" rIns="91440" bIns="45720" rtlCol="0" anchor="ctr"/>
          <a:lstStyle/>
          <a:p>
            <a:pPr lvl="0"/>
            <a:r>
              <a:rPr lang="en-AU" sz="400" b="0" cap="none" baseline="0" noProof="0">
                <a:solidFill>
                  <a:srgbClr val="A2A2A2"/>
                </a:solidFill>
                <a:latin typeface="Mark Offc For MC" panose="020B0504020101010102" pitchFamily="34" charset="0"/>
              </a:rPr>
              <a:t>©2023 Mastercard. Proprietary and Confidential</a:t>
            </a:r>
            <a:endParaRPr lang="en-US" sz="400" b="0" cap="none" baseline="0" dirty="0">
              <a:solidFill>
                <a:srgbClr val="A2A2A2"/>
              </a:solidFill>
              <a:latin typeface="Mark Offc For MC" panose="020B0504020101010102" pitchFamily="34" charset="0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157492" y="4810812"/>
            <a:ext cx="228598" cy="273844"/>
          </a:xfrm>
          <a:prstGeom prst="rect">
            <a:avLst/>
          </a:prstGeom>
        </p:spPr>
        <p:txBody>
          <a:bodyPr vert="horz" lIns="91440" tIns="45720" rIns="0" bIns="45720" rtlCol="0" anchor="ctr"/>
          <a:lstStyle>
            <a:lvl1pPr algn="l">
              <a:defRPr sz="600" b="1" cap="all" baseline="0">
                <a:solidFill>
                  <a:schemeClr val="tx1"/>
                </a:solidFill>
                <a:latin typeface="Mark Offc For MC" panose="020B0504020101010102" pitchFamily="34" charset="0"/>
              </a:defRPr>
            </a:lvl1pPr>
          </a:lstStyle>
          <a:p>
            <a:fld id="{3AB2DB24-5BB4-4F1B-973E-A10FA63DFB9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440082" y="4810812"/>
            <a:ext cx="3319272" cy="273844"/>
          </a:xfrm>
          <a:prstGeom prst="rect">
            <a:avLst/>
          </a:prstGeom>
        </p:spPr>
        <p:txBody>
          <a:bodyPr vert="horz" lIns="91440" tIns="45720" rIns="0" bIns="45720" rtlCol="0" anchor="ctr" anchorCtr="0"/>
          <a:lstStyle>
            <a:lvl1pPr algn="l">
              <a:defRPr sz="600" b="1" cap="all" baseline="0">
                <a:solidFill>
                  <a:schemeClr val="tx1"/>
                </a:solidFill>
                <a:latin typeface="Mark Offc For MC" panose="020B0504020101010102" pitchFamily="34" charset="0"/>
              </a:defRPr>
            </a:lvl1pPr>
          </a:lstStyle>
          <a:p>
            <a:r>
              <a:rPr lang="en-US"/>
              <a:t>Payment Innovatio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 bwMode="gray">
          <a:xfrm>
            <a:off x="6628632" y="4810812"/>
            <a:ext cx="1452909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600" b="0" cap="all" baseline="0">
                <a:solidFill>
                  <a:schemeClr val="tx1"/>
                </a:solidFill>
                <a:latin typeface="Mark Offc For MC" panose="020B0504020101010102" pitchFamily="34" charset="0"/>
              </a:defRPr>
            </a:lvl1pPr>
          </a:lstStyle>
          <a:p>
            <a:r>
              <a:rPr lang="en-US"/>
              <a:t>October 31, 2023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119090" y="192024"/>
            <a:ext cx="5458358" cy="4125806"/>
          </a:xfrm>
          <a:prstGeom prst="rect">
            <a:avLst/>
          </a:prstGeom>
        </p:spPr>
        <p:txBody>
          <a:bodyPr vert="horz" lIns="91440" tIns="45720" rIns="0" bIns="4572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164593" y="192025"/>
            <a:ext cx="2725897" cy="535531"/>
          </a:xfrm>
          <a:prstGeom prst="rect">
            <a:avLst/>
          </a:prstGeom>
        </p:spPr>
        <p:txBody>
          <a:bodyPr vert="horz" wrap="square" lIns="91440" tIns="45720" rIns="91440" bIns="45720" rtlCol="0" anchor="t" anchorCtr="0">
            <a:sp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grpSp>
        <p:nvGrpSpPr>
          <p:cNvPr id="24" name="Graphic 9">
            <a:extLst>
              <a:ext uri="{FF2B5EF4-FFF2-40B4-BE49-F238E27FC236}">
                <a16:creationId xmlns:a16="http://schemas.microsoft.com/office/drawing/2014/main" id="{365FFD04-32CD-42E8-AB33-F3E93FC9D37D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8401987" y="4695711"/>
            <a:ext cx="482352" cy="300342"/>
            <a:chOff x="248864" y="1309239"/>
            <a:chExt cx="1116830" cy="695406"/>
          </a:xfrm>
        </p:grpSpPr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8C3C96D2-0175-49F5-84A9-989686AF4BEC}"/>
                </a:ext>
              </a:extLst>
            </p:cNvPr>
            <p:cNvSpPr/>
            <p:nvPr/>
          </p:nvSpPr>
          <p:spPr bwMode="gray">
            <a:xfrm>
              <a:off x="653702" y="1382595"/>
              <a:ext cx="314326" cy="552451"/>
            </a:xfrm>
            <a:custGeom>
              <a:avLst/>
              <a:gdLst>
                <a:gd name="connsiteX0" fmla="*/ 7144 w 314325"/>
                <a:gd name="connsiteY0" fmla="*/ 7144 h 552450"/>
                <a:gd name="connsiteX1" fmla="*/ 307181 w 314325"/>
                <a:gd name="connsiteY1" fmla="*/ 7144 h 552450"/>
                <a:gd name="connsiteX2" fmla="*/ 307181 w 314325"/>
                <a:gd name="connsiteY2" fmla="*/ 546354 h 552450"/>
                <a:gd name="connsiteX3" fmla="*/ 7144 w 314325"/>
                <a:gd name="connsiteY3" fmla="*/ 546354 h 552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14325" h="552450">
                  <a:moveTo>
                    <a:pt x="7144" y="7144"/>
                  </a:moveTo>
                  <a:lnTo>
                    <a:pt x="307181" y="7144"/>
                  </a:lnTo>
                  <a:lnTo>
                    <a:pt x="307181" y="546354"/>
                  </a:lnTo>
                  <a:lnTo>
                    <a:pt x="7144" y="546354"/>
                  </a:lnTo>
                  <a:close/>
                </a:path>
              </a:pathLst>
            </a:custGeom>
            <a:solidFill>
              <a:srgbClr val="FF5F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/>
              <a:endParaRPr lang="en-US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F8575159-1EA0-47EC-A342-C29256969DF2}"/>
                </a:ext>
              </a:extLst>
            </p:cNvPr>
            <p:cNvSpPr/>
            <p:nvPr/>
          </p:nvSpPr>
          <p:spPr bwMode="gray">
            <a:xfrm>
              <a:off x="248864" y="1309239"/>
              <a:ext cx="561975" cy="695324"/>
            </a:xfrm>
            <a:custGeom>
              <a:avLst/>
              <a:gdLst>
                <a:gd name="connsiteX0" fmla="*/ 431031 w 561975"/>
                <a:gd name="connsiteY0" fmla="*/ 350058 h 695325"/>
                <a:gd name="connsiteX1" fmla="*/ 562000 w 561975"/>
                <a:gd name="connsiteY1" fmla="*/ 80501 h 695325"/>
                <a:gd name="connsiteX2" fmla="*/ 80501 w 561975"/>
                <a:gd name="connsiteY2" fmla="*/ 138117 h 695325"/>
                <a:gd name="connsiteX3" fmla="*/ 138117 w 561975"/>
                <a:gd name="connsiteY3" fmla="*/ 619616 h 695325"/>
                <a:gd name="connsiteX4" fmla="*/ 562000 w 561975"/>
                <a:gd name="connsiteY4" fmla="*/ 619616 h 695325"/>
                <a:gd name="connsiteX5" fmla="*/ 431031 w 561975"/>
                <a:gd name="connsiteY5" fmla="*/ 350058 h 6953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61975" h="695325">
                  <a:moveTo>
                    <a:pt x="431031" y="350058"/>
                  </a:moveTo>
                  <a:cubicBezTo>
                    <a:pt x="430905" y="244845"/>
                    <a:pt x="479209" y="145428"/>
                    <a:pt x="562000" y="80501"/>
                  </a:cubicBezTo>
                  <a:cubicBezTo>
                    <a:pt x="413127" y="-36551"/>
                    <a:pt x="197553" y="-10756"/>
                    <a:pt x="80501" y="138117"/>
                  </a:cubicBezTo>
                  <a:cubicBezTo>
                    <a:pt x="-36551" y="286989"/>
                    <a:pt x="-10756" y="502564"/>
                    <a:pt x="138117" y="619616"/>
                  </a:cubicBezTo>
                  <a:cubicBezTo>
                    <a:pt x="262491" y="717406"/>
                    <a:pt x="437626" y="717406"/>
                    <a:pt x="562000" y="619616"/>
                  </a:cubicBezTo>
                  <a:cubicBezTo>
                    <a:pt x="479209" y="554688"/>
                    <a:pt x="430905" y="455272"/>
                    <a:pt x="431031" y="350058"/>
                  </a:cubicBezTo>
                  <a:close/>
                </a:path>
              </a:pathLst>
            </a:custGeom>
            <a:solidFill>
              <a:srgbClr val="EB001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/>
              <a:endParaRPr lang="en-US"/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F5BB922E-38FB-4554-912E-59A49A219300}"/>
                </a:ext>
              </a:extLst>
            </p:cNvPr>
            <p:cNvSpPr/>
            <p:nvPr/>
          </p:nvSpPr>
          <p:spPr bwMode="gray">
            <a:xfrm>
              <a:off x="803719" y="1309321"/>
              <a:ext cx="561975" cy="695324"/>
            </a:xfrm>
            <a:custGeom>
              <a:avLst/>
              <a:gdLst>
                <a:gd name="connsiteX0" fmla="*/ 561880 w 561975"/>
                <a:gd name="connsiteY0" fmla="*/ 349975 h 695325"/>
                <a:gd name="connsiteX1" fmla="*/ 218897 w 561975"/>
                <a:gd name="connsiteY1" fmla="*/ 692793 h 695325"/>
                <a:gd name="connsiteX2" fmla="*/ 7144 w 561975"/>
                <a:gd name="connsiteY2" fmla="*/ 619533 h 695325"/>
                <a:gd name="connsiteX3" fmla="*/ 64760 w 561975"/>
                <a:gd name="connsiteY3" fmla="*/ 138034 h 695325"/>
                <a:gd name="connsiteX4" fmla="*/ 7144 w 561975"/>
                <a:gd name="connsiteY4" fmla="*/ 80418 h 695325"/>
                <a:gd name="connsiteX5" fmla="*/ 488620 w 561975"/>
                <a:gd name="connsiteY5" fmla="*/ 138222 h 695325"/>
                <a:gd name="connsiteX6" fmla="*/ 561880 w 561975"/>
                <a:gd name="connsiteY6" fmla="*/ 349975 h 695325"/>
                <a:gd name="connsiteX7" fmla="*/ 529209 w 561975"/>
                <a:gd name="connsiteY7" fmla="*/ 562478 h 695325"/>
                <a:gd name="connsiteX8" fmla="*/ 529209 w 561975"/>
                <a:gd name="connsiteY8" fmla="*/ 551429 h 695325"/>
                <a:gd name="connsiteX9" fmla="*/ 533686 w 561975"/>
                <a:gd name="connsiteY9" fmla="*/ 551429 h 695325"/>
                <a:gd name="connsiteX10" fmla="*/ 533686 w 561975"/>
                <a:gd name="connsiteY10" fmla="*/ 549143 h 695325"/>
                <a:gd name="connsiteX11" fmla="*/ 522446 w 561975"/>
                <a:gd name="connsiteY11" fmla="*/ 549143 h 695325"/>
                <a:gd name="connsiteX12" fmla="*/ 522446 w 561975"/>
                <a:gd name="connsiteY12" fmla="*/ 551429 h 695325"/>
                <a:gd name="connsiteX13" fmla="*/ 526828 w 561975"/>
                <a:gd name="connsiteY13" fmla="*/ 551429 h 695325"/>
                <a:gd name="connsiteX14" fmla="*/ 526828 w 561975"/>
                <a:gd name="connsiteY14" fmla="*/ 562478 h 695325"/>
                <a:gd name="connsiteX15" fmla="*/ 551212 w 561975"/>
                <a:gd name="connsiteY15" fmla="*/ 562478 h 695325"/>
                <a:gd name="connsiteX16" fmla="*/ 551212 w 561975"/>
                <a:gd name="connsiteY16" fmla="*/ 549143 h 695325"/>
                <a:gd name="connsiteX17" fmla="*/ 547687 w 561975"/>
                <a:gd name="connsiteY17" fmla="*/ 549143 h 695325"/>
                <a:gd name="connsiteX18" fmla="*/ 543687 w 561975"/>
                <a:gd name="connsiteY18" fmla="*/ 558668 h 695325"/>
                <a:gd name="connsiteX19" fmla="*/ 539686 w 561975"/>
                <a:gd name="connsiteY19" fmla="*/ 549143 h 695325"/>
                <a:gd name="connsiteX20" fmla="*/ 536258 w 561975"/>
                <a:gd name="connsiteY20" fmla="*/ 549143 h 695325"/>
                <a:gd name="connsiteX21" fmla="*/ 536258 w 561975"/>
                <a:gd name="connsiteY21" fmla="*/ 562478 h 695325"/>
                <a:gd name="connsiteX22" fmla="*/ 538734 w 561975"/>
                <a:gd name="connsiteY22" fmla="*/ 562478 h 695325"/>
                <a:gd name="connsiteX23" fmla="*/ 538734 w 561975"/>
                <a:gd name="connsiteY23" fmla="*/ 552382 h 695325"/>
                <a:gd name="connsiteX24" fmla="*/ 542449 w 561975"/>
                <a:gd name="connsiteY24" fmla="*/ 561049 h 695325"/>
                <a:gd name="connsiteX25" fmla="*/ 545020 w 561975"/>
                <a:gd name="connsiteY25" fmla="*/ 561049 h 695325"/>
                <a:gd name="connsiteX26" fmla="*/ 548735 w 561975"/>
                <a:gd name="connsiteY26" fmla="*/ 552382 h 695325"/>
                <a:gd name="connsiteX27" fmla="*/ 548735 w 561975"/>
                <a:gd name="connsiteY27" fmla="*/ 562478 h 6953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561975" h="695325">
                  <a:moveTo>
                    <a:pt x="561880" y="349975"/>
                  </a:moveTo>
                  <a:cubicBezTo>
                    <a:pt x="561834" y="539354"/>
                    <a:pt x="408276" y="692838"/>
                    <a:pt x="218897" y="692793"/>
                  </a:cubicBezTo>
                  <a:cubicBezTo>
                    <a:pt x="142100" y="692774"/>
                    <a:pt x="67533" y="666976"/>
                    <a:pt x="7144" y="619533"/>
                  </a:cubicBezTo>
                  <a:cubicBezTo>
                    <a:pt x="156016" y="502481"/>
                    <a:pt x="181812" y="286906"/>
                    <a:pt x="64760" y="138034"/>
                  </a:cubicBezTo>
                  <a:cubicBezTo>
                    <a:pt x="47913" y="116607"/>
                    <a:pt x="28571" y="97265"/>
                    <a:pt x="7144" y="80418"/>
                  </a:cubicBezTo>
                  <a:cubicBezTo>
                    <a:pt x="156062" y="-36576"/>
                    <a:pt x="371626" y="-10696"/>
                    <a:pt x="488620" y="138222"/>
                  </a:cubicBezTo>
                  <a:cubicBezTo>
                    <a:pt x="536063" y="198612"/>
                    <a:pt x="561861" y="273179"/>
                    <a:pt x="561880" y="349975"/>
                  </a:cubicBezTo>
                  <a:close/>
                  <a:moveTo>
                    <a:pt x="529209" y="562478"/>
                  </a:moveTo>
                  <a:lnTo>
                    <a:pt x="529209" y="551429"/>
                  </a:lnTo>
                  <a:lnTo>
                    <a:pt x="533686" y="551429"/>
                  </a:lnTo>
                  <a:lnTo>
                    <a:pt x="533686" y="549143"/>
                  </a:lnTo>
                  <a:lnTo>
                    <a:pt x="522446" y="549143"/>
                  </a:lnTo>
                  <a:lnTo>
                    <a:pt x="522446" y="551429"/>
                  </a:lnTo>
                  <a:lnTo>
                    <a:pt x="526828" y="551429"/>
                  </a:lnTo>
                  <a:lnTo>
                    <a:pt x="526828" y="562478"/>
                  </a:lnTo>
                  <a:close/>
                  <a:moveTo>
                    <a:pt x="551212" y="562478"/>
                  </a:moveTo>
                  <a:lnTo>
                    <a:pt x="551212" y="549143"/>
                  </a:lnTo>
                  <a:lnTo>
                    <a:pt x="547687" y="549143"/>
                  </a:lnTo>
                  <a:lnTo>
                    <a:pt x="543687" y="558668"/>
                  </a:lnTo>
                  <a:lnTo>
                    <a:pt x="539686" y="549143"/>
                  </a:lnTo>
                  <a:lnTo>
                    <a:pt x="536258" y="549143"/>
                  </a:lnTo>
                  <a:lnTo>
                    <a:pt x="536258" y="562478"/>
                  </a:lnTo>
                  <a:lnTo>
                    <a:pt x="538734" y="562478"/>
                  </a:lnTo>
                  <a:lnTo>
                    <a:pt x="538734" y="552382"/>
                  </a:lnTo>
                  <a:lnTo>
                    <a:pt x="542449" y="561049"/>
                  </a:lnTo>
                  <a:lnTo>
                    <a:pt x="545020" y="561049"/>
                  </a:lnTo>
                  <a:lnTo>
                    <a:pt x="548735" y="552382"/>
                  </a:lnTo>
                  <a:lnTo>
                    <a:pt x="548735" y="562478"/>
                  </a:lnTo>
                  <a:close/>
                </a:path>
              </a:pathLst>
            </a:custGeom>
            <a:solidFill>
              <a:srgbClr val="F79E1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3386309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2" r:id="rId1"/>
    <p:sldLayoutId id="2147483723" r:id="rId2"/>
    <p:sldLayoutId id="2147483724" r:id="rId3"/>
    <p:sldLayoutId id="2147483725" r:id="rId4"/>
    <p:sldLayoutId id="2147483726" r:id="rId5"/>
    <p:sldLayoutId id="2147483727" r:id="rId6"/>
    <p:sldLayoutId id="2147483728" r:id="rId7"/>
    <p:sldLayoutId id="2147483729" r:id="rId8"/>
    <p:sldLayoutId id="2147483730" r:id="rId9"/>
    <p:sldLayoutId id="2147483731" r:id="rId10"/>
    <p:sldLayoutId id="2147483732" r:id="rId11"/>
    <p:sldLayoutId id="2147483733" r:id="rId12"/>
    <p:sldLayoutId id="2147483734" r:id="rId13"/>
    <p:sldLayoutId id="2147483735" r:id="rId14"/>
    <p:sldLayoutId id="2147483736" r:id="rId15"/>
    <p:sldLayoutId id="2147483737" r:id="rId16"/>
    <p:sldLayoutId id="2147483738" r:id="rId17"/>
    <p:sldLayoutId id="2147483739" r:id="rId18"/>
    <p:sldLayoutId id="2147483740" r:id="rId19"/>
    <p:sldLayoutId id="2147483741" r:id="rId20"/>
    <p:sldLayoutId id="2147483742" r:id="rId21"/>
    <p:sldLayoutId id="2147483743" r:id="rId22"/>
    <p:sldLayoutId id="2147483744" r:id="rId23"/>
    <p:sldLayoutId id="2147483745" r:id="rId24"/>
    <p:sldLayoutId id="2147483746" r:id="rId25"/>
    <p:sldLayoutId id="2147483747" r:id="rId26"/>
    <p:sldLayoutId id="2147483748" r:id="rId27"/>
  </p:sldLayoutIdLst>
  <p:hf hdr="0" dt="0"/>
  <p:txStyles>
    <p:titleStyle>
      <a:lvl1pPr algn="l" defTabSz="685783" rtl="0" eaLnBrk="1" latinLnBrk="0" hangingPunct="1">
        <a:lnSpc>
          <a:spcPct val="90000"/>
        </a:lnSpc>
        <a:spcBef>
          <a:spcPct val="0"/>
        </a:spcBef>
        <a:buNone/>
        <a:defRPr sz="1600" b="0" kern="1200">
          <a:solidFill>
            <a:schemeClr val="tx1"/>
          </a:solidFill>
          <a:latin typeface="Mark Offc For MC Medium" panose="020B0604020101010102" pitchFamily="34" charset="0"/>
          <a:ea typeface="+mj-ea"/>
          <a:cs typeface="+mj-cs"/>
        </a:defRPr>
      </a:lvl1pPr>
    </p:titleStyle>
    <p:bodyStyle>
      <a:lvl1pPr marL="115885" indent="-115885" algn="l" defTabSz="685783" rtl="0" eaLnBrk="1" latinLnBrk="0" hangingPunct="1">
        <a:lnSpc>
          <a:spcPct val="90000"/>
        </a:lnSpc>
        <a:spcBef>
          <a:spcPts val="1200"/>
        </a:spcBef>
        <a:buFont typeface="Mark Offc For MC" panose="020B0504020101010102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287331" indent="-139697" algn="l" defTabSz="685783" rtl="0" eaLnBrk="1" latinLnBrk="0" hangingPunct="1">
        <a:lnSpc>
          <a:spcPct val="90000"/>
        </a:lnSpc>
        <a:spcBef>
          <a:spcPts val="200"/>
        </a:spcBef>
        <a:buFont typeface="Mark Offc For MC" panose="020B0504020101010102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403215" indent="-115885" algn="l" defTabSz="685783" rtl="0" eaLnBrk="1" latinLnBrk="0" hangingPunct="1">
        <a:lnSpc>
          <a:spcPct val="90000"/>
        </a:lnSpc>
        <a:spcBef>
          <a:spcPts val="300"/>
        </a:spcBef>
        <a:buFont typeface="Mark Offc For MC" panose="020B0504020101010102" pitchFamily="34" charset="0"/>
        <a:buChar char="•"/>
        <a:defRPr sz="1100" kern="1200">
          <a:solidFill>
            <a:schemeClr val="tx1"/>
          </a:solidFill>
          <a:latin typeface="+mn-lt"/>
          <a:ea typeface="+mn-ea"/>
          <a:cs typeface="+mn-cs"/>
        </a:defRPr>
      </a:lvl3pPr>
      <a:lvl4pPr marL="568311" indent="-133347" algn="l" defTabSz="685783" rtl="0" eaLnBrk="1" latinLnBrk="0" hangingPunct="1">
        <a:lnSpc>
          <a:spcPct val="90000"/>
        </a:lnSpc>
        <a:spcBef>
          <a:spcPts val="300"/>
        </a:spcBef>
        <a:buFont typeface="Mark Offc For MC" panose="020B0504020101010102" pitchFamily="34" charset="0"/>
        <a:buChar char="–"/>
        <a:defRPr sz="1100" kern="1200">
          <a:solidFill>
            <a:schemeClr val="tx1"/>
          </a:solidFill>
          <a:latin typeface="+mn-lt"/>
          <a:ea typeface="+mn-ea"/>
          <a:cs typeface="+mn-cs"/>
        </a:defRPr>
      </a:lvl4pPr>
      <a:lvl5pPr marL="684196" indent="-115885" algn="l" defTabSz="685783" rtl="0" eaLnBrk="1" latinLnBrk="0" hangingPunct="1">
        <a:lnSpc>
          <a:spcPct val="90000"/>
        </a:lnSpc>
        <a:spcBef>
          <a:spcPts val="300"/>
        </a:spcBef>
        <a:buFont typeface="Mark Offc For MC" panose="020B0504020101010102" pitchFamily="34" charset="0"/>
        <a:buChar char="•"/>
        <a:defRPr sz="1051" kern="1200">
          <a:solidFill>
            <a:schemeClr val="tx1"/>
          </a:solidFill>
          <a:latin typeface="+mn-lt"/>
          <a:ea typeface="+mn-ea"/>
          <a:cs typeface="+mn-cs"/>
        </a:defRPr>
      </a:lvl5pPr>
      <a:lvl6pPr marL="1885904" indent="-171446" algn="l" defTabSz="685783" rtl="0" eaLnBrk="1" latinLnBrk="0" hangingPunct="1">
        <a:lnSpc>
          <a:spcPct val="90000"/>
        </a:lnSpc>
        <a:spcBef>
          <a:spcPts val="375"/>
        </a:spcBef>
        <a:buFont typeface="Mark Offc For MC" panose="020B0604020202020204" pitchFamily="34" charset="0"/>
        <a:buChar char="•"/>
        <a:defRPr sz="1351" kern="1200">
          <a:solidFill>
            <a:schemeClr val="tx1"/>
          </a:solidFill>
          <a:latin typeface="+mn-lt"/>
          <a:ea typeface="+mn-ea"/>
          <a:cs typeface="+mn-cs"/>
        </a:defRPr>
      </a:lvl6pPr>
      <a:lvl7pPr marL="2228795" indent="-171446" algn="l" defTabSz="685783" rtl="0" eaLnBrk="1" latinLnBrk="0" hangingPunct="1">
        <a:lnSpc>
          <a:spcPct val="90000"/>
        </a:lnSpc>
        <a:spcBef>
          <a:spcPts val="375"/>
        </a:spcBef>
        <a:buFont typeface="Mark Offc For MC" panose="020B0604020202020204" pitchFamily="34" charset="0"/>
        <a:buChar char="•"/>
        <a:defRPr sz="1351" kern="1200">
          <a:solidFill>
            <a:schemeClr val="tx1"/>
          </a:solidFill>
          <a:latin typeface="+mn-lt"/>
          <a:ea typeface="+mn-ea"/>
          <a:cs typeface="+mn-cs"/>
        </a:defRPr>
      </a:lvl7pPr>
      <a:lvl8pPr marL="2571686" indent="-171446" algn="l" defTabSz="685783" rtl="0" eaLnBrk="1" latinLnBrk="0" hangingPunct="1">
        <a:lnSpc>
          <a:spcPct val="90000"/>
        </a:lnSpc>
        <a:spcBef>
          <a:spcPts val="375"/>
        </a:spcBef>
        <a:buFont typeface="Mark Offc For MC" panose="020B0604020202020204" pitchFamily="34" charset="0"/>
        <a:buChar char="•"/>
        <a:defRPr sz="1351" kern="1200">
          <a:solidFill>
            <a:schemeClr val="tx1"/>
          </a:solidFill>
          <a:latin typeface="+mn-lt"/>
          <a:ea typeface="+mn-ea"/>
          <a:cs typeface="+mn-cs"/>
        </a:defRPr>
      </a:lvl8pPr>
      <a:lvl9pPr marL="2914578" indent="-171446" algn="l" defTabSz="685783" rtl="0" eaLnBrk="1" latinLnBrk="0" hangingPunct="1">
        <a:lnSpc>
          <a:spcPct val="90000"/>
        </a:lnSpc>
        <a:spcBef>
          <a:spcPts val="375"/>
        </a:spcBef>
        <a:buFont typeface="Mark Offc For MC" panose="020B0604020202020204" pitchFamily="34" charset="0"/>
        <a:buChar char="•"/>
        <a:defRPr sz="135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783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1pPr>
      <a:lvl2pPr marL="342891" algn="l" defTabSz="685783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2pPr>
      <a:lvl3pPr marL="685783" algn="l" defTabSz="685783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3pPr>
      <a:lvl4pPr marL="1028674" algn="l" defTabSz="685783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4pPr>
      <a:lvl5pPr marL="1371566" algn="l" defTabSz="685783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5pPr>
      <a:lvl6pPr marL="1714457" algn="l" defTabSz="685783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6pPr>
      <a:lvl7pPr marL="2057349" algn="l" defTabSz="685783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7pPr>
      <a:lvl8pPr marL="2400240" algn="l" defTabSz="685783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8pPr>
      <a:lvl9pPr marL="2743131" algn="l" defTabSz="685783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7" orient="horz" pos="1620">
          <p15:clr>
            <a:srgbClr val="F26B43"/>
          </p15:clr>
        </p15:guide>
        <p15:guide id="8" pos="2880">
          <p15:clr>
            <a:srgbClr val="F26B43"/>
          </p15:clr>
        </p15:guide>
        <p15:guide id="9" pos="1919">
          <p15:clr>
            <a:srgbClr val="F26B43"/>
          </p15:clr>
        </p15:guide>
        <p15:guide id="10" pos="3843">
          <p15:clr>
            <a:srgbClr val="F26B43"/>
          </p15:clr>
        </p15:guide>
        <p15:guide id="11" orient="horz" pos="2903">
          <p15:clr>
            <a:srgbClr val="F26B43"/>
          </p15:clr>
        </p15:guide>
        <p15:guide id="12" orient="horz" pos="3096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3.png"/><Relationship Id="rId4" Type="http://schemas.openxmlformats.org/officeDocument/2006/relationships/image" Target="../media/image2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0.xml"/><Relationship Id="rId5" Type="http://schemas.openxmlformats.org/officeDocument/2006/relationships/image" Target="../media/image24.png"/><Relationship Id="rId4" Type="http://schemas.openxmlformats.org/officeDocument/2006/relationships/image" Target="../media/image23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9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9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1.xml"/><Relationship Id="rId6" Type="http://schemas.openxmlformats.org/officeDocument/2006/relationships/image" Target="../media/image7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1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0.xml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s/_rels/slide6.xml.rels><?xml version="1.0" encoding="UTF-8" standalone="yes"?>
<Relationships xmlns="http://schemas.openxmlformats.org/package/2006/relationships"><Relationship Id="rId8" Type="http://schemas.microsoft.com/office/2007/relationships/hdphoto" Target="../media/hdphoto2.wdp"/><Relationship Id="rId3" Type="http://schemas.openxmlformats.org/officeDocument/2006/relationships/image" Target="../media/image11.png"/><Relationship Id="rId7" Type="http://schemas.openxmlformats.org/officeDocument/2006/relationships/image" Target="../media/image14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0.xml"/><Relationship Id="rId6" Type="http://schemas.microsoft.com/office/2007/relationships/hdphoto" Target="../media/hdphoto1.wdp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13" Type="http://schemas.openxmlformats.org/officeDocument/2006/relationships/image" Target="../media/image20.png"/><Relationship Id="rId3" Type="http://schemas.openxmlformats.org/officeDocument/2006/relationships/notesSlide" Target="../notesSlides/notesSlide7.xml"/><Relationship Id="rId7" Type="http://schemas.openxmlformats.org/officeDocument/2006/relationships/image" Target="../media/image15.jpeg"/><Relationship Id="rId12" Type="http://schemas.openxmlformats.org/officeDocument/2006/relationships/image" Target="../media/image19.jpeg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2.xml"/><Relationship Id="rId6" Type="http://schemas.openxmlformats.org/officeDocument/2006/relationships/image" Target="../media/image7.png"/><Relationship Id="rId11" Type="http://schemas.openxmlformats.org/officeDocument/2006/relationships/image" Target="../media/image18.jpeg"/><Relationship Id="rId5" Type="http://schemas.openxmlformats.org/officeDocument/2006/relationships/image" Target="../media/image6.emf"/><Relationship Id="rId10" Type="http://schemas.openxmlformats.org/officeDocument/2006/relationships/image" Target="../media/image17.jpeg"/><Relationship Id="rId4" Type="http://schemas.openxmlformats.org/officeDocument/2006/relationships/oleObject" Target="../embeddings/oleObject2.bin"/><Relationship Id="rId9" Type="http://schemas.microsoft.com/office/2007/relationships/hdphoto" Target="../media/hdphoto3.wdp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0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B8B6669E-7431-640A-F124-6BE700A7459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54" y="0"/>
            <a:ext cx="9141292" cy="5143500"/>
          </a:xfrm>
          <a:prstGeom prst="rect">
            <a:avLst/>
          </a:prstGeom>
        </p:spPr>
      </p:pic>
      <p:sp>
        <p:nvSpPr>
          <p:cNvPr id="4" name="Subtitle 3">
            <a:extLst>
              <a:ext uri="{FF2B5EF4-FFF2-40B4-BE49-F238E27FC236}">
                <a16:creationId xmlns:a16="http://schemas.microsoft.com/office/drawing/2014/main" id="{FDEAAAE5-DC22-4DA6-9B64-D9A07E824FB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0" y="4644775"/>
            <a:ext cx="6702552" cy="498725"/>
          </a:xfrm>
        </p:spPr>
        <p:txBody>
          <a:bodyPr/>
          <a:lstStyle/>
          <a:p>
            <a:r>
              <a:rPr lang="en-US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Craig Kirkland, Director Pacific Island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CA9B3B9A-3335-4A99-8CC1-5F0044ED197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3906" y="1959660"/>
            <a:ext cx="6702552" cy="929485"/>
          </a:xfrm>
        </p:spPr>
        <p:txBody>
          <a:bodyPr/>
          <a:lstStyle/>
          <a:p>
            <a:r>
              <a:rPr lang="en-US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ayment Innovation</a:t>
            </a:r>
            <a:br>
              <a:rPr lang="en-US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r>
              <a:rPr lang="en-US" sz="18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(with a Pacific Lense)</a:t>
            </a:r>
            <a:endParaRPr lang="en-US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8E76705D-C606-AF62-D680-02D44400BF8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0" y="31593"/>
            <a:ext cx="2753665" cy="632158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CC205098-5EFD-8C65-6B35-817EFF7129A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360542" y="79144"/>
            <a:ext cx="1713870" cy="6128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267091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>
            <a:extLst>
              <a:ext uri="{FF2B5EF4-FFF2-40B4-BE49-F238E27FC236}">
                <a16:creationId xmlns:a16="http://schemas.microsoft.com/office/drawing/2014/main" id="{8C4CFA0A-2BAB-1EB8-58CC-BB0E14304DE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1141421"/>
            <a:ext cx="2690142" cy="1127417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BC422885-33F0-3B17-908D-7E2C9DC00CC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-264799" y="2990791"/>
            <a:ext cx="2993115" cy="1820021"/>
          </a:xfrm>
          <a:prstGeom prst="rect">
            <a:avLst/>
          </a:prstGeom>
        </p:spPr>
      </p:pic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839DD749-4301-4453-909C-9D6DF6FD528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/>
              <a:t> </a:t>
            </a:r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Several IPGs currently available from banks</a:t>
            </a:r>
          </a:p>
          <a:p>
            <a:r>
              <a:rPr lang="en-US" dirty="0"/>
              <a:t>The majority are 3DS enabled</a:t>
            </a:r>
          </a:p>
          <a:p>
            <a:r>
              <a:rPr lang="en-US" dirty="0"/>
              <a:t>There are still barriers to merchants having access</a:t>
            </a:r>
          </a:p>
          <a:p>
            <a:r>
              <a:rPr lang="en-US" dirty="0"/>
              <a:t>The main barrier to inclusion is the misperception of risk</a:t>
            </a:r>
          </a:p>
          <a:p>
            <a:endParaRPr lang="en-US" dirty="0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0FAD4EF5-B941-4C55-A3F1-0D782760090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chemeClr val="accent1"/>
                </a:solidFill>
              </a:rPr>
              <a:t>eCommerce in the Pacific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9B2AB38-F553-2C20-FFAF-A653AC3FB98F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Payment Innovation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4688379-19BD-7E68-2C79-A6C15450AE20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3AB2DB24-5BB4-4F1B-973E-A10FA63DFB9A}" type="slidenum">
              <a:rPr lang="en-US" smtClean="0"/>
              <a:pPr/>
              <a:t>10</a:t>
            </a:fld>
            <a:endParaRPr lang="en-US" dirty="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E0357B5E-C802-8840-14B4-CCBFDDC3616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231758" y="1171614"/>
            <a:ext cx="2690142" cy="26901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8734788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886D7F8-5CC2-4E51-B005-A3C64F8AC48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025780" y="610731"/>
            <a:ext cx="5458009" cy="4072878"/>
          </a:xfrm>
        </p:spPr>
        <p:txBody>
          <a:bodyPr/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AU" dirty="0"/>
              <a:t>Financial Inclusion</a:t>
            </a:r>
          </a:p>
          <a:p>
            <a:pPr marL="720714" lvl="3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AU" sz="1600" dirty="0"/>
              <a:t>People</a:t>
            </a:r>
          </a:p>
          <a:p>
            <a:pPr marL="720714" lvl="3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AU" sz="1600" dirty="0"/>
              <a:t>SMEs</a:t>
            </a:r>
          </a:p>
          <a:p>
            <a:pPr marL="720714" lvl="3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AU" sz="1600" dirty="0"/>
              <a:t>Indigenous banks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AU" dirty="0"/>
              <a:t>Digitisation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AU" dirty="0"/>
              <a:t>Expanding acceptance</a:t>
            </a:r>
          </a:p>
          <a:p>
            <a:pPr marL="720714" lvl="3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AU" sz="1600" dirty="0"/>
              <a:t>SME</a:t>
            </a:r>
          </a:p>
          <a:p>
            <a:pPr marL="720714" lvl="3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AU" sz="1600" dirty="0"/>
              <a:t>eCommerce</a:t>
            </a:r>
          </a:p>
          <a:p>
            <a:pPr marL="720714" lvl="3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AU" sz="1600" dirty="0"/>
              <a:t>Transit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AU" dirty="0"/>
              <a:t>Tourism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D6486A25-744F-C753-62F5-1A9618B2843C}"/>
              </a:ext>
            </a:extLst>
          </p:cNvPr>
          <p:cNvSpPr txBox="1"/>
          <p:nvPr/>
        </p:nvSpPr>
        <p:spPr bwMode="gray">
          <a:xfrm>
            <a:off x="271791" y="972024"/>
            <a:ext cx="2582111" cy="5355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</a:pPr>
            <a:r>
              <a:rPr lang="en-AU" sz="1600" i="1" dirty="0">
                <a:solidFill>
                  <a:schemeClr val="accent1"/>
                </a:solidFill>
                <a:latin typeface="Mark Offc For MC" panose="020B0504020101010102" pitchFamily="34" charset="0"/>
              </a:rPr>
              <a:t>“doing well by doing good”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E538F3AA-A9CE-4254-8352-822AE8AD94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4594" y="192025"/>
            <a:ext cx="8412854" cy="369332"/>
          </a:xfrm>
        </p:spPr>
        <p:txBody>
          <a:bodyPr/>
          <a:lstStyle/>
          <a:p>
            <a:r>
              <a:rPr lang="en-AU" sz="2000" dirty="0">
                <a:solidFill>
                  <a:schemeClr val="accent1"/>
                </a:solidFill>
              </a:rPr>
              <a:t>Our Focus on the Pacific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AB0C75E-1229-A7B9-9EE8-F7B4469C907B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Payment Innovation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DFBC4B9-B871-84E2-7AA2-904DD7526A90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3AB2DB24-5BB4-4F1B-973E-A10FA63DFB9A}" type="slidenum">
              <a:rPr lang="en-US" smtClean="0"/>
              <a:pPr/>
              <a:t>2</a:t>
            </a:fld>
            <a:endParaRPr lang="en-US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37506728-A3E5-B9CB-ABAE-0D2BBBEEC689}"/>
              </a:ext>
            </a:extLst>
          </p:cNvPr>
          <p:cNvSpPr txBox="1"/>
          <p:nvPr/>
        </p:nvSpPr>
        <p:spPr bwMode="gray">
          <a:xfrm>
            <a:off x="326221" y="4064149"/>
            <a:ext cx="2582111" cy="5355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</a:pPr>
            <a:r>
              <a:rPr lang="en-AU" sz="1600" i="1" dirty="0">
                <a:solidFill>
                  <a:schemeClr val="accent1"/>
                </a:solidFill>
              </a:rPr>
              <a:t>“Development delayed is development denied”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A1C35020-120F-7C45-581C-09F57819768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71791" y="1582741"/>
            <a:ext cx="2690973" cy="21288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6483032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Technological innovation is often simply an innovation in how we think  about technology | TechCrunch">
            <a:extLst>
              <a:ext uri="{FF2B5EF4-FFF2-40B4-BE49-F238E27FC236}">
                <a16:creationId xmlns:a16="http://schemas.microsoft.com/office/drawing/2014/main" id="{C351F289-2DA9-A506-EE7E-0D183F5836D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966" y="1375970"/>
            <a:ext cx="3051472" cy="19317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8E4F598-B4D5-D115-595B-D3BBE670D74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444390" y="722081"/>
            <a:ext cx="5458009" cy="3593789"/>
          </a:xfrm>
        </p:spPr>
        <p:txBody>
          <a:bodyPr/>
          <a:lstStyle/>
          <a:p>
            <a:pPr marL="0" indent="0">
              <a:lnSpc>
                <a:spcPct val="150000"/>
              </a:lnSpc>
              <a:buNone/>
            </a:pPr>
            <a:r>
              <a:rPr lang="en-AU" b="0" i="0" dirty="0">
                <a:solidFill>
                  <a:srgbClr val="333333"/>
                </a:solidFill>
                <a:effectLst/>
                <a:latin typeface="MarkForMC Nrw O" panose="020B0506020201010104" pitchFamily="34" charset="0"/>
              </a:rPr>
              <a:t>Solving existing problems in a new way, particularly if the innovation enhances peoples’ lives.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en-AU" dirty="0">
                <a:solidFill>
                  <a:srgbClr val="333333"/>
                </a:solidFill>
                <a:latin typeface="MarkForMC Nrw O" panose="020B0506020201010104" pitchFamily="34" charset="0"/>
              </a:rPr>
              <a:t>Leveraging or enhancing platforms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en-AU" dirty="0">
                <a:solidFill>
                  <a:srgbClr val="333333"/>
                </a:solidFill>
                <a:latin typeface="MarkForMC Nrw O" panose="020B0506020201010104" pitchFamily="34" charset="0"/>
              </a:rPr>
              <a:t>Leveraging existing platforms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en-AU" dirty="0">
                <a:solidFill>
                  <a:srgbClr val="333333"/>
                </a:solidFill>
                <a:latin typeface="MarkForMC Nrw O" panose="020B0506020201010104" pitchFamily="34" charset="0"/>
              </a:rPr>
              <a:t>Digital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en-AU" dirty="0">
                <a:solidFill>
                  <a:srgbClr val="333333"/>
                </a:solidFill>
                <a:latin typeface="MarkForMC Nrw O" panose="020B0506020201010104" pitchFamily="34" charset="0"/>
              </a:rPr>
              <a:t>People centric!</a:t>
            </a:r>
          </a:p>
        </p:txBody>
      </p:sp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639AC638-8D21-E6DC-0068-3E0D33C0FEC7}"/>
              </a:ext>
            </a:extLst>
          </p:cNvPr>
          <p:cNvSpPr>
            <a:spLocks noGrp="1"/>
          </p:cNvSpPr>
          <p:nvPr>
            <p:ph type="body" idx="13"/>
          </p:nvPr>
        </p:nvSpPr>
        <p:spPr/>
        <p:txBody>
          <a:bodyPr/>
          <a:lstStyle/>
          <a:p>
            <a:pPr marL="0" indent="0">
              <a:lnSpc>
                <a:spcPct val="150000"/>
              </a:lnSpc>
              <a:buNone/>
            </a:pPr>
            <a:endParaRPr lang="en-AU" dirty="0">
              <a:solidFill>
                <a:srgbClr val="333333"/>
              </a:solidFill>
              <a:latin typeface="MarkForMC Nrw O" panose="020B0506020201010104" pitchFamily="34" charset="0"/>
            </a:endParaRPr>
          </a:p>
          <a:p>
            <a:pPr marL="0" indent="0">
              <a:lnSpc>
                <a:spcPct val="150000"/>
              </a:lnSpc>
              <a:buNone/>
            </a:pPr>
            <a:endParaRPr lang="en-AU" dirty="0">
              <a:latin typeface="MarkForMC Nrw O" panose="020B0506020201010104" pitchFamily="34" charset="0"/>
            </a:endParaRP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0FAD4EF5-B941-4C55-A3F1-0D782760090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4594" y="192025"/>
            <a:ext cx="8412854" cy="369332"/>
          </a:xfrm>
        </p:spPr>
        <p:txBody>
          <a:bodyPr/>
          <a:lstStyle/>
          <a:p>
            <a:r>
              <a:rPr lang="en-US" sz="2000" dirty="0">
                <a:solidFill>
                  <a:schemeClr val="accent1"/>
                </a:solidFill>
              </a:rPr>
              <a:t>Innovation</a:t>
            </a: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C231613A-C67E-9298-D5CA-4E303C5C62B4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Payment Innovation</a:t>
            </a:r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D67C0B3-E748-8E94-1593-6738E427E4F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3AB2DB24-5BB4-4F1B-973E-A10FA63DFB9A}" type="slidenum">
              <a:rPr lang="en-US" smtClean="0"/>
              <a:pPr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7679190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Object 18" hidden="1">
            <a:extLst>
              <a:ext uri="{FF2B5EF4-FFF2-40B4-BE49-F238E27FC236}">
                <a16:creationId xmlns:a16="http://schemas.microsoft.com/office/drawing/2014/main" id="{CCA1C9DF-81E9-00D8-FE0D-B87A07E6A64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16" imgH="416" progId="TCLayout.ActiveDocument.1">
                  <p:embed/>
                </p:oleObj>
              </mc:Choice>
              <mc:Fallback>
                <p:oleObj name="think-cell Slide" r:id="rId4" imgW="416" imgH="416" progId="TCLayout.ActiveDocument.1">
                  <p:embed/>
                  <p:pic>
                    <p:nvPicPr>
                      <p:cNvPr id="19" name="Object 18" hidden="1">
                        <a:extLst>
                          <a:ext uri="{FF2B5EF4-FFF2-40B4-BE49-F238E27FC236}">
                            <a16:creationId xmlns:a16="http://schemas.microsoft.com/office/drawing/2014/main" id="{CCA1C9DF-81E9-00D8-FE0D-B87A07E6A64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 Placeholder 3">
            <a:extLst>
              <a:ext uri="{FF2B5EF4-FFF2-40B4-BE49-F238E27FC236}">
                <a16:creationId xmlns:a16="http://schemas.microsoft.com/office/drawing/2014/main" id="{2F52F673-2F16-CBE3-E7F6-284581F084B6}"/>
              </a:ext>
            </a:extLst>
          </p:cNvPr>
          <p:cNvSpPr txBox="1">
            <a:spLocks/>
          </p:cNvSpPr>
          <p:nvPr/>
        </p:nvSpPr>
        <p:spPr>
          <a:xfrm>
            <a:off x="157493" y="4448076"/>
            <a:ext cx="228598" cy="273844"/>
          </a:xfrm>
          <a:prstGeom prst="rect">
            <a:avLst/>
          </a:prstGeom>
        </p:spPr>
        <p:txBody>
          <a:bodyPr vert="horz" lIns="68580" tIns="34290" rIns="0" bIns="34290" rtlCol="0" anchor="ctr"/>
          <a:lstStyle>
            <a:defPPr>
              <a:defRPr lang="en-US"/>
            </a:defPPr>
            <a:lvl1pPr defTabSz="914377">
              <a:defRPr sz="800" b="1" cap="all" baseline="0">
                <a:solidFill>
                  <a:srgbClr val="FFFFFF"/>
                </a:solidFill>
                <a:latin typeface="Mark Offc For MC" panose="020B0504020101010102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AB2DB24-5BB4-4F1B-973E-A10FA63DFB9A}" type="slidenum">
              <a:rPr kumimoji="0" lang="en-US" sz="600" b="1" i="0" u="none" strike="noStrike" kern="1200" cap="all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ark Offc For MC" panose="020B0504020101010102" pitchFamily="34" charset="0"/>
                <a:ea typeface="+mn-ea"/>
                <a:cs typeface="+mn-cs"/>
              </a:rPr>
              <a:pPr marL="0" marR="0" lvl="0" indent="0" algn="l" defTabSz="68578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600" b="1" i="0" u="none" strike="noStrike" kern="1200" cap="all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ark Offc For MC" panose="020B0504020101010102" pitchFamily="34" charset="0"/>
              <a:ea typeface="+mn-ea"/>
              <a:cs typeface="+mn-cs"/>
            </a:endParaRPr>
          </a:p>
        </p:txBody>
      </p:sp>
      <p:sp>
        <p:nvSpPr>
          <p:cNvPr id="5" name="Slide Number Placeholder 3">
            <a:extLst>
              <a:ext uri="{FF2B5EF4-FFF2-40B4-BE49-F238E27FC236}">
                <a16:creationId xmlns:a16="http://schemas.microsoft.com/office/drawing/2014/main" id="{0B2FFAA9-C33D-35EE-92E9-BF40EF79AB14}"/>
              </a:ext>
            </a:extLst>
          </p:cNvPr>
          <p:cNvSpPr txBox="1">
            <a:spLocks/>
          </p:cNvSpPr>
          <p:nvPr/>
        </p:nvSpPr>
        <p:spPr>
          <a:xfrm>
            <a:off x="157493" y="4448076"/>
            <a:ext cx="228598" cy="273844"/>
          </a:xfrm>
          <a:prstGeom prst="rect">
            <a:avLst/>
          </a:prstGeom>
        </p:spPr>
        <p:txBody>
          <a:bodyPr vert="horz" lIns="68580" tIns="34290" rIns="0" bIns="34290" rtlCol="0" anchor="ctr"/>
          <a:lstStyle>
            <a:defPPr>
              <a:defRPr lang="en-US"/>
            </a:defPPr>
            <a:lvl1pPr defTabSz="914377">
              <a:defRPr sz="800" b="1" cap="all" baseline="0">
                <a:solidFill>
                  <a:srgbClr val="FFFFFF"/>
                </a:solidFill>
                <a:latin typeface="Mark Offc For MC" panose="020B0504020101010102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AB2DB24-5BB4-4F1B-973E-A10FA63DFB9A}" type="slidenum">
              <a:rPr kumimoji="0" lang="en-AU" sz="600" b="1" i="0" u="none" strike="noStrike" kern="1200" cap="all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ark Offc For MC" panose="020B0504020101010102" pitchFamily="34" charset="0"/>
                <a:ea typeface="+mn-ea"/>
                <a:cs typeface="+mn-cs"/>
              </a:rPr>
              <a:pPr marL="0" marR="0" lvl="0" indent="0" algn="l" defTabSz="68578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AU" sz="600" b="1" i="0" u="none" strike="noStrike" kern="1200" cap="all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ark Offc For MC" panose="020B0504020101010102" pitchFamily="34" charset="0"/>
              <a:ea typeface="+mn-ea"/>
              <a:cs typeface="+mn-cs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967BEC1-7727-D306-798F-68D46F996379}"/>
              </a:ext>
            </a:extLst>
          </p:cNvPr>
          <p:cNvSpPr txBox="1"/>
          <p:nvPr/>
        </p:nvSpPr>
        <p:spPr bwMode="gray">
          <a:xfrm>
            <a:off x="193687" y="1275650"/>
            <a:ext cx="2633333" cy="281615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marR="0" lvl="0" indent="-285750" algn="l" defTabSz="685800" rtl="0" eaLnBrk="1" fontAlgn="auto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AU" sz="12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Mark Offc For MC-MarkF-ZCAE7wLp"/>
                <a:ea typeface="+mn-ea"/>
                <a:cs typeface="+mn-cs"/>
              </a:rPr>
              <a:t>The ubiquity of cash, its universal acceptance and its convenience in handling low-value purchases, justify its continued existence.</a:t>
            </a:r>
          </a:p>
          <a:p>
            <a:pPr marL="285750" marR="0" lvl="0" indent="-285750" algn="l" defTabSz="685800" rtl="0" eaLnBrk="1" fontAlgn="auto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AU" sz="12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Mark Offc For MC-MarkF-ZCAE7wLp"/>
                <a:ea typeface="+mn-ea"/>
                <a:cs typeface="+mn-cs"/>
              </a:rPr>
              <a:t>Although contactless card or e-wallet payments are growing as a result of being able to mimic cash in terms of consumer behaviour, they cannot replace the tangibility of cash.</a:t>
            </a:r>
          </a:p>
          <a:p>
            <a:pPr marL="285750" marR="0" lvl="0" indent="-285750" algn="l" defTabSz="685800" rtl="0" eaLnBrk="1" fontAlgn="auto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AU" sz="12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Mark Offc For MC-MarkF-ZCAE7wLp"/>
                <a:ea typeface="+mn-ea"/>
                <a:cs typeface="+mn-cs"/>
              </a:rPr>
              <a:t>Nonetheless, the widespread use of cash does come with costs.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278CBF0D-A316-8451-0659-DB0D588B7D9E}"/>
              </a:ext>
            </a:extLst>
          </p:cNvPr>
          <p:cNvSpPr txBox="1"/>
          <p:nvPr/>
        </p:nvSpPr>
        <p:spPr bwMode="gray">
          <a:xfrm>
            <a:off x="3325482" y="960273"/>
            <a:ext cx="5231777" cy="3139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6858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600" b="1" i="0" u="none" strike="noStrike" kern="0" cap="none" spc="0" normalizeH="0" baseline="0" noProof="0" dirty="0">
                <a:ln>
                  <a:noFill/>
                </a:ln>
                <a:solidFill>
                  <a:srgbClr val="FFC81F"/>
                </a:solidFill>
                <a:effectLst/>
                <a:uLnTx/>
                <a:uFillTx/>
                <a:latin typeface="Montserrat Black" pitchFamily="2" charset="77"/>
                <a:ea typeface="+mn-ea"/>
                <a:cs typeface="+mn-cs"/>
              </a:rPr>
              <a:t> 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CECBA5D3-8C55-0755-B697-63ECD0961E71}"/>
              </a:ext>
            </a:extLst>
          </p:cNvPr>
          <p:cNvSpPr txBox="1"/>
          <p:nvPr/>
        </p:nvSpPr>
        <p:spPr bwMode="gray">
          <a:xfrm>
            <a:off x="4079014" y="1270530"/>
            <a:ext cx="4466267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Mark Offc For MC-MarkF-ZCAE7wLp"/>
                <a:ea typeface="+mn-ea"/>
                <a:cs typeface="+mn-cs"/>
              </a:rPr>
              <a:t>Inefficient financial system with high cost of cash</a:t>
            </a: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0A60918C-82FA-9BE4-0B3F-B37005EED22B}"/>
              </a:ext>
            </a:extLst>
          </p:cNvPr>
          <p:cNvGrpSpPr/>
          <p:nvPr/>
        </p:nvGrpSpPr>
        <p:grpSpPr>
          <a:xfrm>
            <a:off x="3556953" y="1195522"/>
            <a:ext cx="490136" cy="479609"/>
            <a:chOff x="6566052" y="1869146"/>
            <a:chExt cx="720000" cy="720000"/>
          </a:xfrm>
          <a:solidFill>
            <a:schemeClr val="accent2"/>
          </a:solidFill>
        </p:grpSpPr>
        <p:sp>
          <p:nvSpPr>
            <p:cNvPr id="11" name="Google Shape;509;p29">
              <a:extLst>
                <a:ext uri="{FF2B5EF4-FFF2-40B4-BE49-F238E27FC236}">
                  <a16:creationId xmlns:a16="http://schemas.microsoft.com/office/drawing/2014/main" id="{DD702B61-5E7B-C6F5-AF8B-0AC78F8E177C}"/>
                </a:ext>
              </a:extLst>
            </p:cNvPr>
            <p:cNvSpPr/>
            <p:nvPr/>
          </p:nvSpPr>
          <p:spPr>
            <a:xfrm>
              <a:off x="6566052" y="1869146"/>
              <a:ext cx="720000" cy="720000"/>
            </a:xfrm>
            <a:custGeom>
              <a:avLst/>
              <a:gdLst/>
              <a:ahLst/>
              <a:cxnLst/>
              <a:rect l="l" t="t" r="r" b="b"/>
              <a:pathLst>
                <a:path w="38258" h="38258" extrusionOk="0">
                  <a:moveTo>
                    <a:pt x="19165" y="411"/>
                  </a:moveTo>
                  <a:lnTo>
                    <a:pt x="19969" y="429"/>
                  </a:lnTo>
                  <a:lnTo>
                    <a:pt x="21576" y="554"/>
                  </a:lnTo>
                  <a:lnTo>
                    <a:pt x="23148" y="840"/>
                  </a:lnTo>
                  <a:lnTo>
                    <a:pt x="24684" y="1232"/>
                  </a:lnTo>
                  <a:lnTo>
                    <a:pt x="26184" y="1768"/>
                  </a:lnTo>
                  <a:lnTo>
                    <a:pt x="27631" y="2429"/>
                  </a:lnTo>
                  <a:lnTo>
                    <a:pt x="29024" y="3215"/>
                  </a:lnTo>
                  <a:lnTo>
                    <a:pt x="30346" y="4126"/>
                  </a:lnTo>
                  <a:lnTo>
                    <a:pt x="30989" y="4626"/>
                  </a:lnTo>
                  <a:lnTo>
                    <a:pt x="31632" y="5162"/>
                  </a:lnTo>
                  <a:lnTo>
                    <a:pt x="32828" y="6341"/>
                  </a:lnTo>
                  <a:lnTo>
                    <a:pt x="33918" y="7609"/>
                  </a:lnTo>
                  <a:lnTo>
                    <a:pt x="34864" y="8930"/>
                  </a:lnTo>
                  <a:lnTo>
                    <a:pt x="35686" y="10341"/>
                  </a:lnTo>
                  <a:lnTo>
                    <a:pt x="36383" y="11806"/>
                  </a:lnTo>
                  <a:lnTo>
                    <a:pt x="36954" y="13306"/>
                  </a:lnTo>
                  <a:lnTo>
                    <a:pt x="37383" y="14860"/>
                  </a:lnTo>
                  <a:lnTo>
                    <a:pt x="37686" y="16432"/>
                  </a:lnTo>
                  <a:lnTo>
                    <a:pt x="37847" y="18039"/>
                  </a:lnTo>
                  <a:lnTo>
                    <a:pt x="37883" y="19647"/>
                  </a:lnTo>
                  <a:lnTo>
                    <a:pt x="37758" y="21272"/>
                  </a:lnTo>
                  <a:lnTo>
                    <a:pt x="37508" y="22879"/>
                  </a:lnTo>
                  <a:lnTo>
                    <a:pt x="37115" y="24469"/>
                  </a:lnTo>
                  <a:lnTo>
                    <a:pt x="36561" y="26023"/>
                  </a:lnTo>
                  <a:lnTo>
                    <a:pt x="35882" y="27559"/>
                  </a:lnTo>
                  <a:lnTo>
                    <a:pt x="35472" y="28309"/>
                  </a:lnTo>
                  <a:lnTo>
                    <a:pt x="35043" y="29041"/>
                  </a:lnTo>
                  <a:lnTo>
                    <a:pt x="34096" y="30434"/>
                  </a:lnTo>
                  <a:lnTo>
                    <a:pt x="33025" y="31702"/>
                  </a:lnTo>
                  <a:lnTo>
                    <a:pt x="31882" y="32863"/>
                  </a:lnTo>
                  <a:lnTo>
                    <a:pt x="30631" y="33917"/>
                  </a:lnTo>
                  <a:lnTo>
                    <a:pt x="29310" y="34864"/>
                  </a:lnTo>
                  <a:lnTo>
                    <a:pt x="27917" y="35667"/>
                  </a:lnTo>
                  <a:lnTo>
                    <a:pt x="26470" y="36364"/>
                  </a:lnTo>
                  <a:lnTo>
                    <a:pt x="24970" y="36918"/>
                  </a:lnTo>
                  <a:lnTo>
                    <a:pt x="23416" y="37364"/>
                  </a:lnTo>
                  <a:lnTo>
                    <a:pt x="21826" y="37650"/>
                  </a:lnTo>
                  <a:lnTo>
                    <a:pt x="20219" y="37811"/>
                  </a:lnTo>
                  <a:lnTo>
                    <a:pt x="18594" y="37846"/>
                  </a:lnTo>
                  <a:lnTo>
                    <a:pt x="16950" y="37721"/>
                  </a:lnTo>
                  <a:lnTo>
                    <a:pt x="15325" y="37453"/>
                  </a:lnTo>
                  <a:lnTo>
                    <a:pt x="13700" y="37025"/>
                  </a:lnTo>
                  <a:lnTo>
                    <a:pt x="12896" y="36757"/>
                  </a:lnTo>
                  <a:lnTo>
                    <a:pt x="12092" y="36453"/>
                  </a:lnTo>
                  <a:lnTo>
                    <a:pt x="10556" y="35757"/>
                  </a:lnTo>
                  <a:lnTo>
                    <a:pt x="9127" y="34935"/>
                  </a:lnTo>
                  <a:lnTo>
                    <a:pt x="7788" y="33988"/>
                  </a:lnTo>
                  <a:lnTo>
                    <a:pt x="6538" y="32953"/>
                  </a:lnTo>
                  <a:lnTo>
                    <a:pt x="5395" y="31810"/>
                  </a:lnTo>
                  <a:lnTo>
                    <a:pt x="4341" y="30577"/>
                  </a:lnTo>
                  <a:lnTo>
                    <a:pt x="3412" y="29255"/>
                  </a:lnTo>
                  <a:lnTo>
                    <a:pt x="2608" y="27862"/>
                  </a:lnTo>
                  <a:lnTo>
                    <a:pt x="1912" y="26416"/>
                  </a:lnTo>
                  <a:lnTo>
                    <a:pt x="1358" y="24915"/>
                  </a:lnTo>
                  <a:lnTo>
                    <a:pt x="912" y="23344"/>
                  </a:lnTo>
                  <a:lnTo>
                    <a:pt x="626" y="21754"/>
                  </a:lnTo>
                  <a:lnTo>
                    <a:pt x="465" y="20111"/>
                  </a:lnTo>
                  <a:lnTo>
                    <a:pt x="447" y="18450"/>
                  </a:lnTo>
                  <a:lnTo>
                    <a:pt x="590" y="16789"/>
                  </a:lnTo>
                  <a:lnTo>
                    <a:pt x="715" y="15949"/>
                  </a:lnTo>
                  <a:lnTo>
                    <a:pt x="876" y="15110"/>
                  </a:lnTo>
                  <a:lnTo>
                    <a:pt x="1305" y="13485"/>
                  </a:lnTo>
                  <a:lnTo>
                    <a:pt x="1876" y="11931"/>
                  </a:lnTo>
                  <a:lnTo>
                    <a:pt x="2573" y="10448"/>
                  </a:lnTo>
                  <a:lnTo>
                    <a:pt x="3394" y="9037"/>
                  </a:lnTo>
                  <a:lnTo>
                    <a:pt x="4323" y="7716"/>
                  </a:lnTo>
                  <a:lnTo>
                    <a:pt x="5359" y="6483"/>
                  </a:lnTo>
                  <a:lnTo>
                    <a:pt x="6502" y="5340"/>
                  </a:lnTo>
                  <a:lnTo>
                    <a:pt x="7734" y="4304"/>
                  </a:lnTo>
                  <a:lnTo>
                    <a:pt x="9038" y="3376"/>
                  </a:lnTo>
                  <a:lnTo>
                    <a:pt x="10431" y="2572"/>
                  </a:lnTo>
                  <a:lnTo>
                    <a:pt x="11896" y="1875"/>
                  </a:lnTo>
                  <a:lnTo>
                    <a:pt x="13432" y="1304"/>
                  </a:lnTo>
                  <a:lnTo>
                    <a:pt x="15004" y="875"/>
                  </a:lnTo>
                  <a:lnTo>
                    <a:pt x="16647" y="572"/>
                  </a:lnTo>
                  <a:lnTo>
                    <a:pt x="18308" y="429"/>
                  </a:lnTo>
                  <a:lnTo>
                    <a:pt x="19165" y="411"/>
                  </a:lnTo>
                  <a:close/>
                  <a:moveTo>
                    <a:pt x="19487" y="0"/>
                  </a:moveTo>
                  <a:lnTo>
                    <a:pt x="17272" y="107"/>
                  </a:lnTo>
                  <a:lnTo>
                    <a:pt x="15075" y="447"/>
                  </a:lnTo>
                  <a:lnTo>
                    <a:pt x="12950" y="1036"/>
                  </a:lnTo>
                  <a:lnTo>
                    <a:pt x="10896" y="1875"/>
                  </a:lnTo>
                  <a:lnTo>
                    <a:pt x="8949" y="2947"/>
                  </a:lnTo>
                  <a:lnTo>
                    <a:pt x="7127" y="4251"/>
                  </a:lnTo>
                  <a:lnTo>
                    <a:pt x="5448" y="5751"/>
                  </a:lnTo>
                  <a:lnTo>
                    <a:pt x="3948" y="7484"/>
                  </a:lnTo>
                  <a:lnTo>
                    <a:pt x="2662" y="9430"/>
                  </a:lnTo>
                  <a:lnTo>
                    <a:pt x="1572" y="11556"/>
                  </a:lnTo>
                  <a:lnTo>
                    <a:pt x="1144" y="12717"/>
                  </a:lnTo>
                  <a:lnTo>
                    <a:pt x="751" y="13878"/>
                  </a:lnTo>
                  <a:lnTo>
                    <a:pt x="233" y="16217"/>
                  </a:lnTo>
                  <a:lnTo>
                    <a:pt x="1" y="18539"/>
                  </a:lnTo>
                  <a:lnTo>
                    <a:pt x="72" y="20825"/>
                  </a:lnTo>
                  <a:lnTo>
                    <a:pt x="412" y="23058"/>
                  </a:lnTo>
                  <a:lnTo>
                    <a:pt x="1001" y="25219"/>
                  </a:lnTo>
                  <a:lnTo>
                    <a:pt x="1823" y="27273"/>
                  </a:lnTo>
                  <a:lnTo>
                    <a:pt x="2894" y="29220"/>
                  </a:lnTo>
                  <a:lnTo>
                    <a:pt x="4162" y="31042"/>
                  </a:lnTo>
                  <a:lnTo>
                    <a:pt x="5645" y="32685"/>
                  </a:lnTo>
                  <a:lnTo>
                    <a:pt x="7288" y="34167"/>
                  </a:lnTo>
                  <a:lnTo>
                    <a:pt x="9127" y="35453"/>
                  </a:lnTo>
                  <a:lnTo>
                    <a:pt x="11110" y="36525"/>
                  </a:lnTo>
                  <a:lnTo>
                    <a:pt x="13253" y="37346"/>
                  </a:lnTo>
                  <a:lnTo>
                    <a:pt x="15504" y="37936"/>
                  </a:lnTo>
                  <a:lnTo>
                    <a:pt x="17879" y="38221"/>
                  </a:lnTo>
                  <a:lnTo>
                    <a:pt x="19111" y="38257"/>
                  </a:lnTo>
                  <a:lnTo>
                    <a:pt x="20094" y="38239"/>
                  </a:lnTo>
                  <a:lnTo>
                    <a:pt x="21076" y="38150"/>
                  </a:lnTo>
                  <a:lnTo>
                    <a:pt x="21791" y="38079"/>
                  </a:lnTo>
                  <a:lnTo>
                    <a:pt x="23202" y="37828"/>
                  </a:lnTo>
                  <a:lnTo>
                    <a:pt x="24577" y="37471"/>
                  </a:lnTo>
                  <a:lnTo>
                    <a:pt x="25916" y="37025"/>
                  </a:lnTo>
                  <a:lnTo>
                    <a:pt x="27202" y="36471"/>
                  </a:lnTo>
                  <a:lnTo>
                    <a:pt x="28453" y="35846"/>
                  </a:lnTo>
                  <a:lnTo>
                    <a:pt x="29649" y="35114"/>
                  </a:lnTo>
                  <a:lnTo>
                    <a:pt x="30774" y="34310"/>
                  </a:lnTo>
                  <a:lnTo>
                    <a:pt x="31846" y="33435"/>
                  </a:lnTo>
                  <a:lnTo>
                    <a:pt x="32846" y="32470"/>
                  </a:lnTo>
                  <a:lnTo>
                    <a:pt x="33775" y="31434"/>
                  </a:lnTo>
                  <a:lnTo>
                    <a:pt x="34650" y="30327"/>
                  </a:lnTo>
                  <a:lnTo>
                    <a:pt x="35418" y="29166"/>
                  </a:lnTo>
                  <a:lnTo>
                    <a:pt x="36115" y="27934"/>
                  </a:lnTo>
                  <a:lnTo>
                    <a:pt x="36722" y="26666"/>
                  </a:lnTo>
                  <a:lnTo>
                    <a:pt x="37240" y="25326"/>
                  </a:lnTo>
                  <a:lnTo>
                    <a:pt x="37454" y="24630"/>
                  </a:lnTo>
                  <a:lnTo>
                    <a:pt x="37651" y="23933"/>
                  </a:lnTo>
                  <a:lnTo>
                    <a:pt x="37954" y="22540"/>
                  </a:lnTo>
                  <a:lnTo>
                    <a:pt x="38151" y="21129"/>
                  </a:lnTo>
                  <a:lnTo>
                    <a:pt x="38258" y="19718"/>
                  </a:lnTo>
                  <a:lnTo>
                    <a:pt x="38240" y="18325"/>
                  </a:lnTo>
                  <a:lnTo>
                    <a:pt x="38133" y="16932"/>
                  </a:lnTo>
                  <a:lnTo>
                    <a:pt x="37919" y="15557"/>
                  </a:lnTo>
                  <a:lnTo>
                    <a:pt x="37615" y="14199"/>
                  </a:lnTo>
                  <a:lnTo>
                    <a:pt x="37204" y="12877"/>
                  </a:lnTo>
                  <a:lnTo>
                    <a:pt x="36704" y="11574"/>
                  </a:lnTo>
                  <a:lnTo>
                    <a:pt x="36115" y="10323"/>
                  </a:lnTo>
                  <a:lnTo>
                    <a:pt x="35418" y="9109"/>
                  </a:lnTo>
                  <a:lnTo>
                    <a:pt x="34632" y="7930"/>
                  </a:lnTo>
                  <a:lnTo>
                    <a:pt x="33775" y="6823"/>
                  </a:lnTo>
                  <a:lnTo>
                    <a:pt x="32810" y="5769"/>
                  </a:lnTo>
                  <a:lnTo>
                    <a:pt x="31775" y="4787"/>
                  </a:lnTo>
                  <a:lnTo>
                    <a:pt x="31221" y="4322"/>
                  </a:lnTo>
                  <a:lnTo>
                    <a:pt x="30256" y="3572"/>
                  </a:lnTo>
                  <a:lnTo>
                    <a:pt x="28220" y="2286"/>
                  </a:lnTo>
                  <a:lnTo>
                    <a:pt x="26113" y="1304"/>
                  </a:lnTo>
                  <a:lnTo>
                    <a:pt x="23934" y="607"/>
                  </a:lnTo>
                  <a:lnTo>
                    <a:pt x="21719" y="179"/>
                  </a:lnTo>
                  <a:lnTo>
                    <a:pt x="19487" y="0"/>
                  </a:lnTo>
                  <a:close/>
                </a:path>
              </a:pathLst>
            </a:custGeom>
            <a:grpFill/>
            <a:ln w="28575" cap="flat" cmpd="sng">
              <a:solidFill>
                <a:schemeClr val="accent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35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arkForMC Nrw O"/>
                <a:ea typeface="+mn-ea"/>
                <a:cs typeface="+mn-cs"/>
              </a:endParaRPr>
            </a:p>
          </p:txBody>
        </p:sp>
        <p:sp>
          <p:nvSpPr>
            <p:cNvPr id="12" name="Google Shape;504;p29">
              <a:extLst>
                <a:ext uri="{FF2B5EF4-FFF2-40B4-BE49-F238E27FC236}">
                  <a16:creationId xmlns:a16="http://schemas.microsoft.com/office/drawing/2014/main" id="{8BFA2F12-57E3-D7FA-573C-DCD3E1394CA8}"/>
                </a:ext>
              </a:extLst>
            </p:cNvPr>
            <p:cNvSpPr/>
            <p:nvPr/>
          </p:nvSpPr>
          <p:spPr>
            <a:xfrm>
              <a:off x="6657429" y="1966145"/>
              <a:ext cx="540000" cy="540000"/>
            </a:xfrm>
            <a:custGeom>
              <a:avLst/>
              <a:gdLst/>
              <a:ahLst/>
              <a:cxnLst/>
              <a:rect l="l" t="t" r="r" b="b"/>
              <a:pathLst>
                <a:path w="31900" h="31900" extrusionOk="0">
                  <a:moveTo>
                    <a:pt x="15182" y="0"/>
                  </a:moveTo>
                  <a:lnTo>
                    <a:pt x="13664" y="143"/>
                  </a:lnTo>
                  <a:lnTo>
                    <a:pt x="12146" y="429"/>
                  </a:lnTo>
                  <a:lnTo>
                    <a:pt x="10664" y="876"/>
                  </a:lnTo>
                  <a:lnTo>
                    <a:pt x="9235" y="1447"/>
                  </a:lnTo>
                  <a:lnTo>
                    <a:pt x="7842" y="2179"/>
                  </a:lnTo>
                  <a:lnTo>
                    <a:pt x="6502" y="3055"/>
                  </a:lnTo>
                  <a:lnTo>
                    <a:pt x="5252" y="4090"/>
                  </a:lnTo>
                  <a:lnTo>
                    <a:pt x="4663" y="4662"/>
                  </a:lnTo>
                  <a:lnTo>
                    <a:pt x="4091" y="5251"/>
                  </a:lnTo>
                  <a:lnTo>
                    <a:pt x="3073" y="6502"/>
                  </a:lnTo>
                  <a:lnTo>
                    <a:pt x="2198" y="7823"/>
                  </a:lnTo>
                  <a:lnTo>
                    <a:pt x="1466" y="9216"/>
                  </a:lnTo>
                  <a:lnTo>
                    <a:pt x="876" y="10663"/>
                  </a:lnTo>
                  <a:lnTo>
                    <a:pt x="430" y="12145"/>
                  </a:lnTo>
                  <a:lnTo>
                    <a:pt x="144" y="13646"/>
                  </a:lnTo>
                  <a:lnTo>
                    <a:pt x="1" y="15182"/>
                  </a:lnTo>
                  <a:lnTo>
                    <a:pt x="1" y="16718"/>
                  </a:lnTo>
                  <a:lnTo>
                    <a:pt x="144" y="18236"/>
                  </a:lnTo>
                  <a:lnTo>
                    <a:pt x="430" y="19754"/>
                  </a:lnTo>
                  <a:lnTo>
                    <a:pt x="876" y="21236"/>
                  </a:lnTo>
                  <a:lnTo>
                    <a:pt x="1466" y="22665"/>
                  </a:lnTo>
                  <a:lnTo>
                    <a:pt x="2198" y="24058"/>
                  </a:lnTo>
                  <a:lnTo>
                    <a:pt x="3073" y="25398"/>
                  </a:lnTo>
                  <a:lnTo>
                    <a:pt x="4091" y="26648"/>
                  </a:lnTo>
                  <a:lnTo>
                    <a:pt x="4663" y="27238"/>
                  </a:lnTo>
                  <a:lnTo>
                    <a:pt x="5252" y="27809"/>
                  </a:lnTo>
                  <a:lnTo>
                    <a:pt x="6502" y="28827"/>
                  </a:lnTo>
                  <a:lnTo>
                    <a:pt x="7842" y="29702"/>
                  </a:lnTo>
                  <a:lnTo>
                    <a:pt x="9235" y="30435"/>
                  </a:lnTo>
                  <a:lnTo>
                    <a:pt x="10664" y="31024"/>
                  </a:lnTo>
                  <a:lnTo>
                    <a:pt x="12146" y="31453"/>
                  </a:lnTo>
                  <a:lnTo>
                    <a:pt x="13664" y="31756"/>
                  </a:lnTo>
                  <a:lnTo>
                    <a:pt x="15182" y="31899"/>
                  </a:lnTo>
                  <a:lnTo>
                    <a:pt x="16718" y="31899"/>
                  </a:lnTo>
                  <a:lnTo>
                    <a:pt x="18237" y="31756"/>
                  </a:lnTo>
                  <a:lnTo>
                    <a:pt x="19755" y="31453"/>
                  </a:lnTo>
                  <a:lnTo>
                    <a:pt x="21237" y="31024"/>
                  </a:lnTo>
                  <a:lnTo>
                    <a:pt x="22684" y="30435"/>
                  </a:lnTo>
                  <a:lnTo>
                    <a:pt x="24059" y="29702"/>
                  </a:lnTo>
                  <a:lnTo>
                    <a:pt x="25399" y="28827"/>
                  </a:lnTo>
                  <a:lnTo>
                    <a:pt x="26649" y="27809"/>
                  </a:lnTo>
                  <a:lnTo>
                    <a:pt x="27238" y="27238"/>
                  </a:lnTo>
                  <a:lnTo>
                    <a:pt x="27810" y="26648"/>
                  </a:lnTo>
                  <a:lnTo>
                    <a:pt x="28828" y="25398"/>
                  </a:lnTo>
                  <a:lnTo>
                    <a:pt x="29703" y="24058"/>
                  </a:lnTo>
                  <a:lnTo>
                    <a:pt x="30435" y="22665"/>
                  </a:lnTo>
                  <a:lnTo>
                    <a:pt x="31025" y="21236"/>
                  </a:lnTo>
                  <a:lnTo>
                    <a:pt x="31471" y="19754"/>
                  </a:lnTo>
                  <a:lnTo>
                    <a:pt x="31757" y="18236"/>
                  </a:lnTo>
                  <a:lnTo>
                    <a:pt x="31900" y="16718"/>
                  </a:lnTo>
                  <a:lnTo>
                    <a:pt x="31900" y="15182"/>
                  </a:lnTo>
                  <a:lnTo>
                    <a:pt x="31757" y="13646"/>
                  </a:lnTo>
                  <a:lnTo>
                    <a:pt x="31471" y="12145"/>
                  </a:lnTo>
                  <a:lnTo>
                    <a:pt x="31025" y="10663"/>
                  </a:lnTo>
                  <a:lnTo>
                    <a:pt x="30435" y="9216"/>
                  </a:lnTo>
                  <a:lnTo>
                    <a:pt x="29703" y="7823"/>
                  </a:lnTo>
                  <a:lnTo>
                    <a:pt x="28828" y="6502"/>
                  </a:lnTo>
                  <a:lnTo>
                    <a:pt x="27810" y="5251"/>
                  </a:lnTo>
                  <a:lnTo>
                    <a:pt x="27238" y="4662"/>
                  </a:lnTo>
                  <a:lnTo>
                    <a:pt x="26649" y="4090"/>
                  </a:lnTo>
                  <a:lnTo>
                    <a:pt x="25399" y="3055"/>
                  </a:lnTo>
                  <a:lnTo>
                    <a:pt x="24059" y="2179"/>
                  </a:lnTo>
                  <a:lnTo>
                    <a:pt x="22684" y="1447"/>
                  </a:lnTo>
                  <a:lnTo>
                    <a:pt x="21237" y="876"/>
                  </a:lnTo>
                  <a:lnTo>
                    <a:pt x="19755" y="429"/>
                  </a:lnTo>
                  <a:lnTo>
                    <a:pt x="18237" y="143"/>
                  </a:lnTo>
                  <a:lnTo>
                    <a:pt x="16718" y="0"/>
                  </a:lnTo>
                  <a:close/>
                </a:path>
              </a:pathLst>
            </a:custGeom>
            <a:grpFill/>
            <a:ln>
              <a:solidFill>
                <a:schemeClr val="accent1"/>
              </a:solidFill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35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arkForMC Nrw O"/>
                <a:ea typeface="+mn-ea"/>
                <a:cs typeface="+mn-cs"/>
              </a:endParaRPr>
            </a:p>
          </p:txBody>
        </p:sp>
      </p:grpSp>
      <p:sp>
        <p:nvSpPr>
          <p:cNvPr id="13" name="TextBox 12">
            <a:extLst>
              <a:ext uri="{FF2B5EF4-FFF2-40B4-BE49-F238E27FC236}">
                <a16:creationId xmlns:a16="http://schemas.microsoft.com/office/drawing/2014/main" id="{89D1899E-245B-4225-0F84-865F620D195F}"/>
              </a:ext>
            </a:extLst>
          </p:cNvPr>
          <p:cNvSpPr txBox="1"/>
          <p:nvPr/>
        </p:nvSpPr>
        <p:spPr bwMode="gray">
          <a:xfrm>
            <a:off x="4079013" y="1820912"/>
            <a:ext cx="4188973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Mark Offc For MC-MarkF-ZCAE7wLp"/>
                <a:ea typeface="+mn-ea"/>
                <a:cs typeface="+mn-cs"/>
              </a:rPr>
              <a:t>Shadow economy, with missed tax revenues </a:t>
            </a: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B2AD69A2-0919-D26D-7FAC-C186763E73C6}"/>
              </a:ext>
            </a:extLst>
          </p:cNvPr>
          <p:cNvGrpSpPr/>
          <p:nvPr/>
        </p:nvGrpSpPr>
        <p:grpSpPr>
          <a:xfrm>
            <a:off x="3556953" y="1757976"/>
            <a:ext cx="490136" cy="479609"/>
            <a:chOff x="6566052" y="1869146"/>
            <a:chExt cx="720000" cy="720000"/>
          </a:xfrm>
          <a:solidFill>
            <a:schemeClr val="accent2"/>
          </a:solidFill>
        </p:grpSpPr>
        <p:sp>
          <p:nvSpPr>
            <p:cNvPr id="15" name="Google Shape;509;p29">
              <a:extLst>
                <a:ext uri="{FF2B5EF4-FFF2-40B4-BE49-F238E27FC236}">
                  <a16:creationId xmlns:a16="http://schemas.microsoft.com/office/drawing/2014/main" id="{CE4956D5-1038-7CE4-962A-75177C85F7F9}"/>
                </a:ext>
              </a:extLst>
            </p:cNvPr>
            <p:cNvSpPr/>
            <p:nvPr/>
          </p:nvSpPr>
          <p:spPr>
            <a:xfrm>
              <a:off x="6566052" y="1869146"/>
              <a:ext cx="720000" cy="720000"/>
            </a:xfrm>
            <a:custGeom>
              <a:avLst/>
              <a:gdLst/>
              <a:ahLst/>
              <a:cxnLst/>
              <a:rect l="l" t="t" r="r" b="b"/>
              <a:pathLst>
                <a:path w="38258" h="38258" extrusionOk="0">
                  <a:moveTo>
                    <a:pt x="19165" y="411"/>
                  </a:moveTo>
                  <a:lnTo>
                    <a:pt x="19969" y="429"/>
                  </a:lnTo>
                  <a:lnTo>
                    <a:pt x="21576" y="554"/>
                  </a:lnTo>
                  <a:lnTo>
                    <a:pt x="23148" y="840"/>
                  </a:lnTo>
                  <a:lnTo>
                    <a:pt x="24684" y="1232"/>
                  </a:lnTo>
                  <a:lnTo>
                    <a:pt x="26184" y="1768"/>
                  </a:lnTo>
                  <a:lnTo>
                    <a:pt x="27631" y="2429"/>
                  </a:lnTo>
                  <a:lnTo>
                    <a:pt x="29024" y="3215"/>
                  </a:lnTo>
                  <a:lnTo>
                    <a:pt x="30346" y="4126"/>
                  </a:lnTo>
                  <a:lnTo>
                    <a:pt x="30989" y="4626"/>
                  </a:lnTo>
                  <a:lnTo>
                    <a:pt x="31632" y="5162"/>
                  </a:lnTo>
                  <a:lnTo>
                    <a:pt x="32828" y="6341"/>
                  </a:lnTo>
                  <a:lnTo>
                    <a:pt x="33918" y="7609"/>
                  </a:lnTo>
                  <a:lnTo>
                    <a:pt x="34864" y="8930"/>
                  </a:lnTo>
                  <a:lnTo>
                    <a:pt x="35686" y="10341"/>
                  </a:lnTo>
                  <a:lnTo>
                    <a:pt x="36383" y="11806"/>
                  </a:lnTo>
                  <a:lnTo>
                    <a:pt x="36954" y="13306"/>
                  </a:lnTo>
                  <a:lnTo>
                    <a:pt x="37383" y="14860"/>
                  </a:lnTo>
                  <a:lnTo>
                    <a:pt x="37686" y="16432"/>
                  </a:lnTo>
                  <a:lnTo>
                    <a:pt x="37847" y="18039"/>
                  </a:lnTo>
                  <a:lnTo>
                    <a:pt x="37883" y="19647"/>
                  </a:lnTo>
                  <a:lnTo>
                    <a:pt x="37758" y="21272"/>
                  </a:lnTo>
                  <a:lnTo>
                    <a:pt x="37508" y="22879"/>
                  </a:lnTo>
                  <a:lnTo>
                    <a:pt x="37115" y="24469"/>
                  </a:lnTo>
                  <a:lnTo>
                    <a:pt x="36561" y="26023"/>
                  </a:lnTo>
                  <a:lnTo>
                    <a:pt x="35882" y="27559"/>
                  </a:lnTo>
                  <a:lnTo>
                    <a:pt x="35472" y="28309"/>
                  </a:lnTo>
                  <a:lnTo>
                    <a:pt x="35043" y="29041"/>
                  </a:lnTo>
                  <a:lnTo>
                    <a:pt x="34096" y="30434"/>
                  </a:lnTo>
                  <a:lnTo>
                    <a:pt x="33025" y="31702"/>
                  </a:lnTo>
                  <a:lnTo>
                    <a:pt x="31882" y="32863"/>
                  </a:lnTo>
                  <a:lnTo>
                    <a:pt x="30631" y="33917"/>
                  </a:lnTo>
                  <a:lnTo>
                    <a:pt x="29310" y="34864"/>
                  </a:lnTo>
                  <a:lnTo>
                    <a:pt x="27917" y="35667"/>
                  </a:lnTo>
                  <a:lnTo>
                    <a:pt x="26470" y="36364"/>
                  </a:lnTo>
                  <a:lnTo>
                    <a:pt x="24970" y="36918"/>
                  </a:lnTo>
                  <a:lnTo>
                    <a:pt x="23416" y="37364"/>
                  </a:lnTo>
                  <a:lnTo>
                    <a:pt x="21826" y="37650"/>
                  </a:lnTo>
                  <a:lnTo>
                    <a:pt x="20219" y="37811"/>
                  </a:lnTo>
                  <a:lnTo>
                    <a:pt x="18594" y="37846"/>
                  </a:lnTo>
                  <a:lnTo>
                    <a:pt x="16950" y="37721"/>
                  </a:lnTo>
                  <a:lnTo>
                    <a:pt x="15325" y="37453"/>
                  </a:lnTo>
                  <a:lnTo>
                    <a:pt x="13700" y="37025"/>
                  </a:lnTo>
                  <a:lnTo>
                    <a:pt x="12896" y="36757"/>
                  </a:lnTo>
                  <a:lnTo>
                    <a:pt x="12092" y="36453"/>
                  </a:lnTo>
                  <a:lnTo>
                    <a:pt x="10556" y="35757"/>
                  </a:lnTo>
                  <a:lnTo>
                    <a:pt x="9127" y="34935"/>
                  </a:lnTo>
                  <a:lnTo>
                    <a:pt x="7788" y="33988"/>
                  </a:lnTo>
                  <a:lnTo>
                    <a:pt x="6538" y="32953"/>
                  </a:lnTo>
                  <a:lnTo>
                    <a:pt x="5395" y="31810"/>
                  </a:lnTo>
                  <a:lnTo>
                    <a:pt x="4341" y="30577"/>
                  </a:lnTo>
                  <a:lnTo>
                    <a:pt x="3412" y="29255"/>
                  </a:lnTo>
                  <a:lnTo>
                    <a:pt x="2608" y="27862"/>
                  </a:lnTo>
                  <a:lnTo>
                    <a:pt x="1912" y="26416"/>
                  </a:lnTo>
                  <a:lnTo>
                    <a:pt x="1358" y="24915"/>
                  </a:lnTo>
                  <a:lnTo>
                    <a:pt x="912" y="23344"/>
                  </a:lnTo>
                  <a:lnTo>
                    <a:pt x="626" y="21754"/>
                  </a:lnTo>
                  <a:lnTo>
                    <a:pt x="465" y="20111"/>
                  </a:lnTo>
                  <a:lnTo>
                    <a:pt x="447" y="18450"/>
                  </a:lnTo>
                  <a:lnTo>
                    <a:pt x="590" y="16789"/>
                  </a:lnTo>
                  <a:lnTo>
                    <a:pt x="715" y="15949"/>
                  </a:lnTo>
                  <a:lnTo>
                    <a:pt x="876" y="15110"/>
                  </a:lnTo>
                  <a:lnTo>
                    <a:pt x="1305" y="13485"/>
                  </a:lnTo>
                  <a:lnTo>
                    <a:pt x="1876" y="11931"/>
                  </a:lnTo>
                  <a:lnTo>
                    <a:pt x="2573" y="10448"/>
                  </a:lnTo>
                  <a:lnTo>
                    <a:pt x="3394" y="9037"/>
                  </a:lnTo>
                  <a:lnTo>
                    <a:pt x="4323" y="7716"/>
                  </a:lnTo>
                  <a:lnTo>
                    <a:pt x="5359" y="6483"/>
                  </a:lnTo>
                  <a:lnTo>
                    <a:pt x="6502" y="5340"/>
                  </a:lnTo>
                  <a:lnTo>
                    <a:pt x="7734" y="4304"/>
                  </a:lnTo>
                  <a:lnTo>
                    <a:pt x="9038" y="3376"/>
                  </a:lnTo>
                  <a:lnTo>
                    <a:pt x="10431" y="2572"/>
                  </a:lnTo>
                  <a:lnTo>
                    <a:pt x="11896" y="1875"/>
                  </a:lnTo>
                  <a:lnTo>
                    <a:pt x="13432" y="1304"/>
                  </a:lnTo>
                  <a:lnTo>
                    <a:pt x="15004" y="875"/>
                  </a:lnTo>
                  <a:lnTo>
                    <a:pt x="16647" y="572"/>
                  </a:lnTo>
                  <a:lnTo>
                    <a:pt x="18308" y="429"/>
                  </a:lnTo>
                  <a:lnTo>
                    <a:pt x="19165" y="411"/>
                  </a:lnTo>
                  <a:close/>
                  <a:moveTo>
                    <a:pt x="19487" y="0"/>
                  </a:moveTo>
                  <a:lnTo>
                    <a:pt x="17272" y="107"/>
                  </a:lnTo>
                  <a:lnTo>
                    <a:pt x="15075" y="447"/>
                  </a:lnTo>
                  <a:lnTo>
                    <a:pt x="12950" y="1036"/>
                  </a:lnTo>
                  <a:lnTo>
                    <a:pt x="10896" y="1875"/>
                  </a:lnTo>
                  <a:lnTo>
                    <a:pt x="8949" y="2947"/>
                  </a:lnTo>
                  <a:lnTo>
                    <a:pt x="7127" y="4251"/>
                  </a:lnTo>
                  <a:lnTo>
                    <a:pt x="5448" y="5751"/>
                  </a:lnTo>
                  <a:lnTo>
                    <a:pt x="3948" y="7484"/>
                  </a:lnTo>
                  <a:lnTo>
                    <a:pt x="2662" y="9430"/>
                  </a:lnTo>
                  <a:lnTo>
                    <a:pt x="1572" y="11556"/>
                  </a:lnTo>
                  <a:lnTo>
                    <a:pt x="1144" y="12717"/>
                  </a:lnTo>
                  <a:lnTo>
                    <a:pt x="751" y="13878"/>
                  </a:lnTo>
                  <a:lnTo>
                    <a:pt x="233" y="16217"/>
                  </a:lnTo>
                  <a:lnTo>
                    <a:pt x="1" y="18539"/>
                  </a:lnTo>
                  <a:lnTo>
                    <a:pt x="72" y="20825"/>
                  </a:lnTo>
                  <a:lnTo>
                    <a:pt x="412" y="23058"/>
                  </a:lnTo>
                  <a:lnTo>
                    <a:pt x="1001" y="25219"/>
                  </a:lnTo>
                  <a:lnTo>
                    <a:pt x="1823" y="27273"/>
                  </a:lnTo>
                  <a:lnTo>
                    <a:pt x="2894" y="29220"/>
                  </a:lnTo>
                  <a:lnTo>
                    <a:pt x="4162" y="31042"/>
                  </a:lnTo>
                  <a:lnTo>
                    <a:pt x="5645" y="32685"/>
                  </a:lnTo>
                  <a:lnTo>
                    <a:pt x="7288" y="34167"/>
                  </a:lnTo>
                  <a:lnTo>
                    <a:pt x="9127" y="35453"/>
                  </a:lnTo>
                  <a:lnTo>
                    <a:pt x="11110" y="36525"/>
                  </a:lnTo>
                  <a:lnTo>
                    <a:pt x="13253" y="37346"/>
                  </a:lnTo>
                  <a:lnTo>
                    <a:pt x="15504" y="37936"/>
                  </a:lnTo>
                  <a:lnTo>
                    <a:pt x="17879" y="38221"/>
                  </a:lnTo>
                  <a:lnTo>
                    <a:pt x="19111" y="38257"/>
                  </a:lnTo>
                  <a:lnTo>
                    <a:pt x="20094" y="38239"/>
                  </a:lnTo>
                  <a:lnTo>
                    <a:pt x="21076" y="38150"/>
                  </a:lnTo>
                  <a:lnTo>
                    <a:pt x="21791" y="38079"/>
                  </a:lnTo>
                  <a:lnTo>
                    <a:pt x="23202" y="37828"/>
                  </a:lnTo>
                  <a:lnTo>
                    <a:pt x="24577" y="37471"/>
                  </a:lnTo>
                  <a:lnTo>
                    <a:pt x="25916" y="37025"/>
                  </a:lnTo>
                  <a:lnTo>
                    <a:pt x="27202" y="36471"/>
                  </a:lnTo>
                  <a:lnTo>
                    <a:pt x="28453" y="35846"/>
                  </a:lnTo>
                  <a:lnTo>
                    <a:pt x="29649" y="35114"/>
                  </a:lnTo>
                  <a:lnTo>
                    <a:pt x="30774" y="34310"/>
                  </a:lnTo>
                  <a:lnTo>
                    <a:pt x="31846" y="33435"/>
                  </a:lnTo>
                  <a:lnTo>
                    <a:pt x="32846" y="32470"/>
                  </a:lnTo>
                  <a:lnTo>
                    <a:pt x="33775" y="31434"/>
                  </a:lnTo>
                  <a:lnTo>
                    <a:pt x="34650" y="30327"/>
                  </a:lnTo>
                  <a:lnTo>
                    <a:pt x="35418" y="29166"/>
                  </a:lnTo>
                  <a:lnTo>
                    <a:pt x="36115" y="27934"/>
                  </a:lnTo>
                  <a:lnTo>
                    <a:pt x="36722" y="26666"/>
                  </a:lnTo>
                  <a:lnTo>
                    <a:pt x="37240" y="25326"/>
                  </a:lnTo>
                  <a:lnTo>
                    <a:pt x="37454" y="24630"/>
                  </a:lnTo>
                  <a:lnTo>
                    <a:pt x="37651" y="23933"/>
                  </a:lnTo>
                  <a:lnTo>
                    <a:pt x="37954" y="22540"/>
                  </a:lnTo>
                  <a:lnTo>
                    <a:pt x="38151" y="21129"/>
                  </a:lnTo>
                  <a:lnTo>
                    <a:pt x="38258" y="19718"/>
                  </a:lnTo>
                  <a:lnTo>
                    <a:pt x="38240" y="18325"/>
                  </a:lnTo>
                  <a:lnTo>
                    <a:pt x="38133" y="16932"/>
                  </a:lnTo>
                  <a:lnTo>
                    <a:pt x="37919" y="15557"/>
                  </a:lnTo>
                  <a:lnTo>
                    <a:pt x="37615" y="14199"/>
                  </a:lnTo>
                  <a:lnTo>
                    <a:pt x="37204" y="12877"/>
                  </a:lnTo>
                  <a:lnTo>
                    <a:pt x="36704" y="11574"/>
                  </a:lnTo>
                  <a:lnTo>
                    <a:pt x="36115" y="10323"/>
                  </a:lnTo>
                  <a:lnTo>
                    <a:pt x="35418" y="9109"/>
                  </a:lnTo>
                  <a:lnTo>
                    <a:pt x="34632" y="7930"/>
                  </a:lnTo>
                  <a:lnTo>
                    <a:pt x="33775" y="6823"/>
                  </a:lnTo>
                  <a:lnTo>
                    <a:pt x="32810" y="5769"/>
                  </a:lnTo>
                  <a:lnTo>
                    <a:pt x="31775" y="4787"/>
                  </a:lnTo>
                  <a:lnTo>
                    <a:pt x="31221" y="4322"/>
                  </a:lnTo>
                  <a:lnTo>
                    <a:pt x="30256" y="3572"/>
                  </a:lnTo>
                  <a:lnTo>
                    <a:pt x="28220" y="2286"/>
                  </a:lnTo>
                  <a:lnTo>
                    <a:pt x="26113" y="1304"/>
                  </a:lnTo>
                  <a:lnTo>
                    <a:pt x="23934" y="607"/>
                  </a:lnTo>
                  <a:lnTo>
                    <a:pt x="21719" y="179"/>
                  </a:lnTo>
                  <a:lnTo>
                    <a:pt x="19487" y="0"/>
                  </a:lnTo>
                  <a:close/>
                </a:path>
              </a:pathLst>
            </a:custGeom>
            <a:grpFill/>
            <a:ln w="28575" cap="flat" cmpd="sng">
              <a:solidFill>
                <a:schemeClr val="accent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35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arkForMC Nrw O"/>
                <a:ea typeface="+mn-ea"/>
                <a:cs typeface="+mn-cs"/>
              </a:endParaRPr>
            </a:p>
          </p:txBody>
        </p:sp>
        <p:sp>
          <p:nvSpPr>
            <p:cNvPr id="16" name="Google Shape;504;p29">
              <a:extLst>
                <a:ext uri="{FF2B5EF4-FFF2-40B4-BE49-F238E27FC236}">
                  <a16:creationId xmlns:a16="http://schemas.microsoft.com/office/drawing/2014/main" id="{6E5E3E9C-7678-1442-13C7-07B9293CC8DE}"/>
                </a:ext>
              </a:extLst>
            </p:cNvPr>
            <p:cNvSpPr/>
            <p:nvPr/>
          </p:nvSpPr>
          <p:spPr>
            <a:xfrm>
              <a:off x="6657429" y="1966145"/>
              <a:ext cx="540000" cy="540000"/>
            </a:xfrm>
            <a:custGeom>
              <a:avLst/>
              <a:gdLst/>
              <a:ahLst/>
              <a:cxnLst/>
              <a:rect l="l" t="t" r="r" b="b"/>
              <a:pathLst>
                <a:path w="31900" h="31900" extrusionOk="0">
                  <a:moveTo>
                    <a:pt x="15182" y="0"/>
                  </a:moveTo>
                  <a:lnTo>
                    <a:pt x="13664" y="143"/>
                  </a:lnTo>
                  <a:lnTo>
                    <a:pt x="12146" y="429"/>
                  </a:lnTo>
                  <a:lnTo>
                    <a:pt x="10664" y="876"/>
                  </a:lnTo>
                  <a:lnTo>
                    <a:pt x="9235" y="1447"/>
                  </a:lnTo>
                  <a:lnTo>
                    <a:pt x="7842" y="2179"/>
                  </a:lnTo>
                  <a:lnTo>
                    <a:pt x="6502" y="3055"/>
                  </a:lnTo>
                  <a:lnTo>
                    <a:pt x="5252" y="4090"/>
                  </a:lnTo>
                  <a:lnTo>
                    <a:pt x="4663" y="4662"/>
                  </a:lnTo>
                  <a:lnTo>
                    <a:pt x="4091" y="5251"/>
                  </a:lnTo>
                  <a:lnTo>
                    <a:pt x="3073" y="6502"/>
                  </a:lnTo>
                  <a:lnTo>
                    <a:pt x="2198" y="7823"/>
                  </a:lnTo>
                  <a:lnTo>
                    <a:pt x="1466" y="9216"/>
                  </a:lnTo>
                  <a:lnTo>
                    <a:pt x="876" y="10663"/>
                  </a:lnTo>
                  <a:lnTo>
                    <a:pt x="430" y="12145"/>
                  </a:lnTo>
                  <a:lnTo>
                    <a:pt x="144" y="13646"/>
                  </a:lnTo>
                  <a:lnTo>
                    <a:pt x="1" y="15182"/>
                  </a:lnTo>
                  <a:lnTo>
                    <a:pt x="1" y="16718"/>
                  </a:lnTo>
                  <a:lnTo>
                    <a:pt x="144" y="18236"/>
                  </a:lnTo>
                  <a:lnTo>
                    <a:pt x="430" y="19754"/>
                  </a:lnTo>
                  <a:lnTo>
                    <a:pt x="876" y="21236"/>
                  </a:lnTo>
                  <a:lnTo>
                    <a:pt x="1466" y="22665"/>
                  </a:lnTo>
                  <a:lnTo>
                    <a:pt x="2198" y="24058"/>
                  </a:lnTo>
                  <a:lnTo>
                    <a:pt x="3073" y="25398"/>
                  </a:lnTo>
                  <a:lnTo>
                    <a:pt x="4091" y="26648"/>
                  </a:lnTo>
                  <a:lnTo>
                    <a:pt x="4663" y="27238"/>
                  </a:lnTo>
                  <a:lnTo>
                    <a:pt x="5252" y="27809"/>
                  </a:lnTo>
                  <a:lnTo>
                    <a:pt x="6502" y="28827"/>
                  </a:lnTo>
                  <a:lnTo>
                    <a:pt x="7842" y="29702"/>
                  </a:lnTo>
                  <a:lnTo>
                    <a:pt x="9235" y="30435"/>
                  </a:lnTo>
                  <a:lnTo>
                    <a:pt x="10664" y="31024"/>
                  </a:lnTo>
                  <a:lnTo>
                    <a:pt x="12146" y="31453"/>
                  </a:lnTo>
                  <a:lnTo>
                    <a:pt x="13664" y="31756"/>
                  </a:lnTo>
                  <a:lnTo>
                    <a:pt x="15182" y="31899"/>
                  </a:lnTo>
                  <a:lnTo>
                    <a:pt x="16718" y="31899"/>
                  </a:lnTo>
                  <a:lnTo>
                    <a:pt x="18237" y="31756"/>
                  </a:lnTo>
                  <a:lnTo>
                    <a:pt x="19755" y="31453"/>
                  </a:lnTo>
                  <a:lnTo>
                    <a:pt x="21237" y="31024"/>
                  </a:lnTo>
                  <a:lnTo>
                    <a:pt x="22684" y="30435"/>
                  </a:lnTo>
                  <a:lnTo>
                    <a:pt x="24059" y="29702"/>
                  </a:lnTo>
                  <a:lnTo>
                    <a:pt x="25399" y="28827"/>
                  </a:lnTo>
                  <a:lnTo>
                    <a:pt x="26649" y="27809"/>
                  </a:lnTo>
                  <a:lnTo>
                    <a:pt x="27238" y="27238"/>
                  </a:lnTo>
                  <a:lnTo>
                    <a:pt x="27810" y="26648"/>
                  </a:lnTo>
                  <a:lnTo>
                    <a:pt x="28828" y="25398"/>
                  </a:lnTo>
                  <a:lnTo>
                    <a:pt x="29703" y="24058"/>
                  </a:lnTo>
                  <a:lnTo>
                    <a:pt x="30435" y="22665"/>
                  </a:lnTo>
                  <a:lnTo>
                    <a:pt x="31025" y="21236"/>
                  </a:lnTo>
                  <a:lnTo>
                    <a:pt x="31471" y="19754"/>
                  </a:lnTo>
                  <a:lnTo>
                    <a:pt x="31757" y="18236"/>
                  </a:lnTo>
                  <a:lnTo>
                    <a:pt x="31900" y="16718"/>
                  </a:lnTo>
                  <a:lnTo>
                    <a:pt x="31900" y="15182"/>
                  </a:lnTo>
                  <a:lnTo>
                    <a:pt x="31757" y="13646"/>
                  </a:lnTo>
                  <a:lnTo>
                    <a:pt x="31471" y="12145"/>
                  </a:lnTo>
                  <a:lnTo>
                    <a:pt x="31025" y="10663"/>
                  </a:lnTo>
                  <a:lnTo>
                    <a:pt x="30435" y="9216"/>
                  </a:lnTo>
                  <a:lnTo>
                    <a:pt x="29703" y="7823"/>
                  </a:lnTo>
                  <a:lnTo>
                    <a:pt x="28828" y="6502"/>
                  </a:lnTo>
                  <a:lnTo>
                    <a:pt x="27810" y="5251"/>
                  </a:lnTo>
                  <a:lnTo>
                    <a:pt x="27238" y="4662"/>
                  </a:lnTo>
                  <a:lnTo>
                    <a:pt x="26649" y="4090"/>
                  </a:lnTo>
                  <a:lnTo>
                    <a:pt x="25399" y="3055"/>
                  </a:lnTo>
                  <a:lnTo>
                    <a:pt x="24059" y="2179"/>
                  </a:lnTo>
                  <a:lnTo>
                    <a:pt x="22684" y="1447"/>
                  </a:lnTo>
                  <a:lnTo>
                    <a:pt x="21237" y="876"/>
                  </a:lnTo>
                  <a:lnTo>
                    <a:pt x="19755" y="429"/>
                  </a:lnTo>
                  <a:lnTo>
                    <a:pt x="18237" y="143"/>
                  </a:lnTo>
                  <a:lnTo>
                    <a:pt x="16718" y="0"/>
                  </a:lnTo>
                  <a:close/>
                </a:path>
              </a:pathLst>
            </a:custGeom>
            <a:grpFill/>
            <a:ln>
              <a:solidFill>
                <a:schemeClr val="accent1"/>
              </a:solidFill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35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arkForMC Nrw O"/>
                <a:ea typeface="+mn-ea"/>
                <a:cs typeface="+mn-cs"/>
              </a:endParaRPr>
            </a:p>
          </p:txBody>
        </p:sp>
      </p:grpSp>
      <p:sp>
        <p:nvSpPr>
          <p:cNvPr id="17" name="TextBox 16">
            <a:extLst>
              <a:ext uri="{FF2B5EF4-FFF2-40B4-BE49-F238E27FC236}">
                <a16:creationId xmlns:a16="http://schemas.microsoft.com/office/drawing/2014/main" id="{41D71350-2F2E-EA79-67C9-1A3E473211E3}"/>
              </a:ext>
            </a:extLst>
          </p:cNvPr>
          <p:cNvSpPr txBox="1"/>
          <p:nvPr/>
        </p:nvSpPr>
        <p:spPr bwMode="gray">
          <a:xfrm>
            <a:off x="4085504" y="2434942"/>
            <a:ext cx="4188973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Mark Offc For MC-MarkF-ZCAE7wLp"/>
                <a:ea typeface="+mn-ea"/>
                <a:cs typeface="+mn-cs"/>
              </a:rPr>
              <a:t>Financial exclusion</a:t>
            </a: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703302D6-6A88-C908-331F-A2B81A5328AD}"/>
              </a:ext>
            </a:extLst>
          </p:cNvPr>
          <p:cNvGrpSpPr/>
          <p:nvPr/>
        </p:nvGrpSpPr>
        <p:grpSpPr>
          <a:xfrm>
            <a:off x="3555353" y="2354150"/>
            <a:ext cx="490136" cy="479609"/>
            <a:chOff x="6566052" y="1869146"/>
            <a:chExt cx="720000" cy="720000"/>
          </a:xfrm>
          <a:solidFill>
            <a:schemeClr val="accent2"/>
          </a:solidFill>
        </p:grpSpPr>
        <p:sp>
          <p:nvSpPr>
            <p:cNvPr id="20" name="Google Shape;509;p29">
              <a:extLst>
                <a:ext uri="{FF2B5EF4-FFF2-40B4-BE49-F238E27FC236}">
                  <a16:creationId xmlns:a16="http://schemas.microsoft.com/office/drawing/2014/main" id="{4D3411E9-A3B2-9C30-310A-7587512DBC1B}"/>
                </a:ext>
              </a:extLst>
            </p:cNvPr>
            <p:cNvSpPr/>
            <p:nvPr/>
          </p:nvSpPr>
          <p:spPr>
            <a:xfrm>
              <a:off x="6566052" y="1869146"/>
              <a:ext cx="720000" cy="720000"/>
            </a:xfrm>
            <a:custGeom>
              <a:avLst/>
              <a:gdLst/>
              <a:ahLst/>
              <a:cxnLst/>
              <a:rect l="l" t="t" r="r" b="b"/>
              <a:pathLst>
                <a:path w="38258" h="38258" extrusionOk="0">
                  <a:moveTo>
                    <a:pt x="19165" y="411"/>
                  </a:moveTo>
                  <a:lnTo>
                    <a:pt x="19969" y="429"/>
                  </a:lnTo>
                  <a:lnTo>
                    <a:pt x="21576" y="554"/>
                  </a:lnTo>
                  <a:lnTo>
                    <a:pt x="23148" y="840"/>
                  </a:lnTo>
                  <a:lnTo>
                    <a:pt x="24684" y="1232"/>
                  </a:lnTo>
                  <a:lnTo>
                    <a:pt x="26184" y="1768"/>
                  </a:lnTo>
                  <a:lnTo>
                    <a:pt x="27631" y="2429"/>
                  </a:lnTo>
                  <a:lnTo>
                    <a:pt x="29024" y="3215"/>
                  </a:lnTo>
                  <a:lnTo>
                    <a:pt x="30346" y="4126"/>
                  </a:lnTo>
                  <a:lnTo>
                    <a:pt x="30989" y="4626"/>
                  </a:lnTo>
                  <a:lnTo>
                    <a:pt x="31632" y="5162"/>
                  </a:lnTo>
                  <a:lnTo>
                    <a:pt x="32828" y="6341"/>
                  </a:lnTo>
                  <a:lnTo>
                    <a:pt x="33918" y="7609"/>
                  </a:lnTo>
                  <a:lnTo>
                    <a:pt x="34864" y="8930"/>
                  </a:lnTo>
                  <a:lnTo>
                    <a:pt x="35686" y="10341"/>
                  </a:lnTo>
                  <a:lnTo>
                    <a:pt x="36383" y="11806"/>
                  </a:lnTo>
                  <a:lnTo>
                    <a:pt x="36954" y="13306"/>
                  </a:lnTo>
                  <a:lnTo>
                    <a:pt x="37383" y="14860"/>
                  </a:lnTo>
                  <a:lnTo>
                    <a:pt x="37686" y="16432"/>
                  </a:lnTo>
                  <a:lnTo>
                    <a:pt x="37847" y="18039"/>
                  </a:lnTo>
                  <a:lnTo>
                    <a:pt x="37883" y="19647"/>
                  </a:lnTo>
                  <a:lnTo>
                    <a:pt x="37758" y="21272"/>
                  </a:lnTo>
                  <a:lnTo>
                    <a:pt x="37508" y="22879"/>
                  </a:lnTo>
                  <a:lnTo>
                    <a:pt x="37115" y="24469"/>
                  </a:lnTo>
                  <a:lnTo>
                    <a:pt x="36561" y="26023"/>
                  </a:lnTo>
                  <a:lnTo>
                    <a:pt x="35882" y="27559"/>
                  </a:lnTo>
                  <a:lnTo>
                    <a:pt x="35472" y="28309"/>
                  </a:lnTo>
                  <a:lnTo>
                    <a:pt x="35043" y="29041"/>
                  </a:lnTo>
                  <a:lnTo>
                    <a:pt x="34096" y="30434"/>
                  </a:lnTo>
                  <a:lnTo>
                    <a:pt x="33025" y="31702"/>
                  </a:lnTo>
                  <a:lnTo>
                    <a:pt x="31882" y="32863"/>
                  </a:lnTo>
                  <a:lnTo>
                    <a:pt x="30631" y="33917"/>
                  </a:lnTo>
                  <a:lnTo>
                    <a:pt x="29310" y="34864"/>
                  </a:lnTo>
                  <a:lnTo>
                    <a:pt x="27917" y="35667"/>
                  </a:lnTo>
                  <a:lnTo>
                    <a:pt x="26470" y="36364"/>
                  </a:lnTo>
                  <a:lnTo>
                    <a:pt x="24970" y="36918"/>
                  </a:lnTo>
                  <a:lnTo>
                    <a:pt x="23416" y="37364"/>
                  </a:lnTo>
                  <a:lnTo>
                    <a:pt x="21826" y="37650"/>
                  </a:lnTo>
                  <a:lnTo>
                    <a:pt x="20219" y="37811"/>
                  </a:lnTo>
                  <a:lnTo>
                    <a:pt x="18594" y="37846"/>
                  </a:lnTo>
                  <a:lnTo>
                    <a:pt x="16950" y="37721"/>
                  </a:lnTo>
                  <a:lnTo>
                    <a:pt x="15325" y="37453"/>
                  </a:lnTo>
                  <a:lnTo>
                    <a:pt x="13700" y="37025"/>
                  </a:lnTo>
                  <a:lnTo>
                    <a:pt x="12896" y="36757"/>
                  </a:lnTo>
                  <a:lnTo>
                    <a:pt x="12092" y="36453"/>
                  </a:lnTo>
                  <a:lnTo>
                    <a:pt x="10556" y="35757"/>
                  </a:lnTo>
                  <a:lnTo>
                    <a:pt x="9127" y="34935"/>
                  </a:lnTo>
                  <a:lnTo>
                    <a:pt x="7788" y="33988"/>
                  </a:lnTo>
                  <a:lnTo>
                    <a:pt x="6538" y="32953"/>
                  </a:lnTo>
                  <a:lnTo>
                    <a:pt x="5395" y="31810"/>
                  </a:lnTo>
                  <a:lnTo>
                    <a:pt x="4341" y="30577"/>
                  </a:lnTo>
                  <a:lnTo>
                    <a:pt x="3412" y="29255"/>
                  </a:lnTo>
                  <a:lnTo>
                    <a:pt x="2608" y="27862"/>
                  </a:lnTo>
                  <a:lnTo>
                    <a:pt x="1912" y="26416"/>
                  </a:lnTo>
                  <a:lnTo>
                    <a:pt x="1358" y="24915"/>
                  </a:lnTo>
                  <a:lnTo>
                    <a:pt x="912" y="23344"/>
                  </a:lnTo>
                  <a:lnTo>
                    <a:pt x="626" y="21754"/>
                  </a:lnTo>
                  <a:lnTo>
                    <a:pt x="465" y="20111"/>
                  </a:lnTo>
                  <a:lnTo>
                    <a:pt x="447" y="18450"/>
                  </a:lnTo>
                  <a:lnTo>
                    <a:pt x="590" y="16789"/>
                  </a:lnTo>
                  <a:lnTo>
                    <a:pt x="715" y="15949"/>
                  </a:lnTo>
                  <a:lnTo>
                    <a:pt x="876" y="15110"/>
                  </a:lnTo>
                  <a:lnTo>
                    <a:pt x="1305" y="13485"/>
                  </a:lnTo>
                  <a:lnTo>
                    <a:pt x="1876" y="11931"/>
                  </a:lnTo>
                  <a:lnTo>
                    <a:pt x="2573" y="10448"/>
                  </a:lnTo>
                  <a:lnTo>
                    <a:pt x="3394" y="9037"/>
                  </a:lnTo>
                  <a:lnTo>
                    <a:pt x="4323" y="7716"/>
                  </a:lnTo>
                  <a:lnTo>
                    <a:pt x="5359" y="6483"/>
                  </a:lnTo>
                  <a:lnTo>
                    <a:pt x="6502" y="5340"/>
                  </a:lnTo>
                  <a:lnTo>
                    <a:pt x="7734" y="4304"/>
                  </a:lnTo>
                  <a:lnTo>
                    <a:pt x="9038" y="3376"/>
                  </a:lnTo>
                  <a:lnTo>
                    <a:pt x="10431" y="2572"/>
                  </a:lnTo>
                  <a:lnTo>
                    <a:pt x="11896" y="1875"/>
                  </a:lnTo>
                  <a:lnTo>
                    <a:pt x="13432" y="1304"/>
                  </a:lnTo>
                  <a:lnTo>
                    <a:pt x="15004" y="875"/>
                  </a:lnTo>
                  <a:lnTo>
                    <a:pt x="16647" y="572"/>
                  </a:lnTo>
                  <a:lnTo>
                    <a:pt x="18308" y="429"/>
                  </a:lnTo>
                  <a:lnTo>
                    <a:pt x="19165" y="411"/>
                  </a:lnTo>
                  <a:close/>
                  <a:moveTo>
                    <a:pt x="19487" y="0"/>
                  </a:moveTo>
                  <a:lnTo>
                    <a:pt x="17272" y="107"/>
                  </a:lnTo>
                  <a:lnTo>
                    <a:pt x="15075" y="447"/>
                  </a:lnTo>
                  <a:lnTo>
                    <a:pt x="12950" y="1036"/>
                  </a:lnTo>
                  <a:lnTo>
                    <a:pt x="10896" y="1875"/>
                  </a:lnTo>
                  <a:lnTo>
                    <a:pt x="8949" y="2947"/>
                  </a:lnTo>
                  <a:lnTo>
                    <a:pt x="7127" y="4251"/>
                  </a:lnTo>
                  <a:lnTo>
                    <a:pt x="5448" y="5751"/>
                  </a:lnTo>
                  <a:lnTo>
                    <a:pt x="3948" y="7484"/>
                  </a:lnTo>
                  <a:lnTo>
                    <a:pt x="2662" y="9430"/>
                  </a:lnTo>
                  <a:lnTo>
                    <a:pt x="1572" y="11556"/>
                  </a:lnTo>
                  <a:lnTo>
                    <a:pt x="1144" y="12717"/>
                  </a:lnTo>
                  <a:lnTo>
                    <a:pt x="751" y="13878"/>
                  </a:lnTo>
                  <a:lnTo>
                    <a:pt x="233" y="16217"/>
                  </a:lnTo>
                  <a:lnTo>
                    <a:pt x="1" y="18539"/>
                  </a:lnTo>
                  <a:lnTo>
                    <a:pt x="72" y="20825"/>
                  </a:lnTo>
                  <a:lnTo>
                    <a:pt x="412" y="23058"/>
                  </a:lnTo>
                  <a:lnTo>
                    <a:pt x="1001" y="25219"/>
                  </a:lnTo>
                  <a:lnTo>
                    <a:pt x="1823" y="27273"/>
                  </a:lnTo>
                  <a:lnTo>
                    <a:pt x="2894" y="29220"/>
                  </a:lnTo>
                  <a:lnTo>
                    <a:pt x="4162" y="31042"/>
                  </a:lnTo>
                  <a:lnTo>
                    <a:pt x="5645" y="32685"/>
                  </a:lnTo>
                  <a:lnTo>
                    <a:pt x="7288" y="34167"/>
                  </a:lnTo>
                  <a:lnTo>
                    <a:pt x="9127" y="35453"/>
                  </a:lnTo>
                  <a:lnTo>
                    <a:pt x="11110" y="36525"/>
                  </a:lnTo>
                  <a:lnTo>
                    <a:pt x="13253" y="37346"/>
                  </a:lnTo>
                  <a:lnTo>
                    <a:pt x="15504" y="37936"/>
                  </a:lnTo>
                  <a:lnTo>
                    <a:pt x="17879" y="38221"/>
                  </a:lnTo>
                  <a:lnTo>
                    <a:pt x="19111" y="38257"/>
                  </a:lnTo>
                  <a:lnTo>
                    <a:pt x="20094" y="38239"/>
                  </a:lnTo>
                  <a:lnTo>
                    <a:pt x="21076" y="38150"/>
                  </a:lnTo>
                  <a:lnTo>
                    <a:pt x="21791" y="38079"/>
                  </a:lnTo>
                  <a:lnTo>
                    <a:pt x="23202" y="37828"/>
                  </a:lnTo>
                  <a:lnTo>
                    <a:pt x="24577" y="37471"/>
                  </a:lnTo>
                  <a:lnTo>
                    <a:pt x="25916" y="37025"/>
                  </a:lnTo>
                  <a:lnTo>
                    <a:pt x="27202" y="36471"/>
                  </a:lnTo>
                  <a:lnTo>
                    <a:pt x="28453" y="35846"/>
                  </a:lnTo>
                  <a:lnTo>
                    <a:pt x="29649" y="35114"/>
                  </a:lnTo>
                  <a:lnTo>
                    <a:pt x="30774" y="34310"/>
                  </a:lnTo>
                  <a:lnTo>
                    <a:pt x="31846" y="33435"/>
                  </a:lnTo>
                  <a:lnTo>
                    <a:pt x="32846" y="32470"/>
                  </a:lnTo>
                  <a:lnTo>
                    <a:pt x="33775" y="31434"/>
                  </a:lnTo>
                  <a:lnTo>
                    <a:pt x="34650" y="30327"/>
                  </a:lnTo>
                  <a:lnTo>
                    <a:pt x="35418" y="29166"/>
                  </a:lnTo>
                  <a:lnTo>
                    <a:pt x="36115" y="27934"/>
                  </a:lnTo>
                  <a:lnTo>
                    <a:pt x="36722" y="26666"/>
                  </a:lnTo>
                  <a:lnTo>
                    <a:pt x="37240" y="25326"/>
                  </a:lnTo>
                  <a:lnTo>
                    <a:pt x="37454" y="24630"/>
                  </a:lnTo>
                  <a:lnTo>
                    <a:pt x="37651" y="23933"/>
                  </a:lnTo>
                  <a:lnTo>
                    <a:pt x="37954" y="22540"/>
                  </a:lnTo>
                  <a:lnTo>
                    <a:pt x="38151" y="21129"/>
                  </a:lnTo>
                  <a:lnTo>
                    <a:pt x="38258" y="19718"/>
                  </a:lnTo>
                  <a:lnTo>
                    <a:pt x="38240" y="18325"/>
                  </a:lnTo>
                  <a:lnTo>
                    <a:pt x="38133" y="16932"/>
                  </a:lnTo>
                  <a:lnTo>
                    <a:pt x="37919" y="15557"/>
                  </a:lnTo>
                  <a:lnTo>
                    <a:pt x="37615" y="14199"/>
                  </a:lnTo>
                  <a:lnTo>
                    <a:pt x="37204" y="12877"/>
                  </a:lnTo>
                  <a:lnTo>
                    <a:pt x="36704" y="11574"/>
                  </a:lnTo>
                  <a:lnTo>
                    <a:pt x="36115" y="10323"/>
                  </a:lnTo>
                  <a:lnTo>
                    <a:pt x="35418" y="9109"/>
                  </a:lnTo>
                  <a:lnTo>
                    <a:pt x="34632" y="7930"/>
                  </a:lnTo>
                  <a:lnTo>
                    <a:pt x="33775" y="6823"/>
                  </a:lnTo>
                  <a:lnTo>
                    <a:pt x="32810" y="5769"/>
                  </a:lnTo>
                  <a:lnTo>
                    <a:pt x="31775" y="4787"/>
                  </a:lnTo>
                  <a:lnTo>
                    <a:pt x="31221" y="4322"/>
                  </a:lnTo>
                  <a:lnTo>
                    <a:pt x="30256" y="3572"/>
                  </a:lnTo>
                  <a:lnTo>
                    <a:pt x="28220" y="2286"/>
                  </a:lnTo>
                  <a:lnTo>
                    <a:pt x="26113" y="1304"/>
                  </a:lnTo>
                  <a:lnTo>
                    <a:pt x="23934" y="607"/>
                  </a:lnTo>
                  <a:lnTo>
                    <a:pt x="21719" y="179"/>
                  </a:lnTo>
                  <a:lnTo>
                    <a:pt x="19487" y="0"/>
                  </a:lnTo>
                  <a:close/>
                </a:path>
              </a:pathLst>
            </a:custGeom>
            <a:grpFill/>
            <a:ln w="28575" cap="flat" cmpd="sng">
              <a:solidFill>
                <a:schemeClr val="accent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35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arkForMC Nrw O"/>
                <a:ea typeface="+mn-ea"/>
                <a:cs typeface="+mn-cs"/>
              </a:endParaRPr>
            </a:p>
          </p:txBody>
        </p:sp>
        <p:sp>
          <p:nvSpPr>
            <p:cNvPr id="21" name="Google Shape;504;p29">
              <a:extLst>
                <a:ext uri="{FF2B5EF4-FFF2-40B4-BE49-F238E27FC236}">
                  <a16:creationId xmlns:a16="http://schemas.microsoft.com/office/drawing/2014/main" id="{B23DA616-D8C0-76A0-2F25-DD7FB2A5C900}"/>
                </a:ext>
              </a:extLst>
            </p:cNvPr>
            <p:cNvSpPr/>
            <p:nvPr/>
          </p:nvSpPr>
          <p:spPr>
            <a:xfrm>
              <a:off x="6657429" y="1966145"/>
              <a:ext cx="540000" cy="540000"/>
            </a:xfrm>
            <a:custGeom>
              <a:avLst/>
              <a:gdLst/>
              <a:ahLst/>
              <a:cxnLst/>
              <a:rect l="l" t="t" r="r" b="b"/>
              <a:pathLst>
                <a:path w="31900" h="31900" extrusionOk="0">
                  <a:moveTo>
                    <a:pt x="15182" y="0"/>
                  </a:moveTo>
                  <a:lnTo>
                    <a:pt x="13664" y="143"/>
                  </a:lnTo>
                  <a:lnTo>
                    <a:pt x="12146" y="429"/>
                  </a:lnTo>
                  <a:lnTo>
                    <a:pt x="10664" y="876"/>
                  </a:lnTo>
                  <a:lnTo>
                    <a:pt x="9235" y="1447"/>
                  </a:lnTo>
                  <a:lnTo>
                    <a:pt x="7842" y="2179"/>
                  </a:lnTo>
                  <a:lnTo>
                    <a:pt x="6502" y="3055"/>
                  </a:lnTo>
                  <a:lnTo>
                    <a:pt x="5252" y="4090"/>
                  </a:lnTo>
                  <a:lnTo>
                    <a:pt x="4663" y="4662"/>
                  </a:lnTo>
                  <a:lnTo>
                    <a:pt x="4091" y="5251"/>
                  </a:lnTo>
                  <a:lnTo>
                    <a:pt x="3073" y="6502"/>
                  </a:lnTo>
                  <a:lnTo>
                    <a:pt x="2198" y="7823"/>
                  </a:lnTo>
                  <a:lnTo>
                    <a:pt x="1466" y="9216"/>
                  </a:lnTo>
                  <a:lnTo>
                    <a:pt x="876" y="10663"/>
                  </a:lnTo>
                  <a:lnTo>
                    <a:pt x="430" y="12145"/>
                  </a:lnTo>
                  <a:lnTo>
                    <a:pt x="144" y="13646"/>
                  </a:lnTo>
                  <a:lnTo>
                    <a:pt x="1" y="15182"/>
                  </a:lnTo>
                  <a:lnTo>
                    <a:pt x="1" y="16718"/>
                  </a:lnTo>
                  <a:lnTo>
                    <a:pt x="144" y="18236"/>
                  </a:lnTo>
                  <a:lnTo>
                    <a:pt x="430" y="19754"/>
                  </a:lnTo>
                  <a:lnTo>
                    <a:pt x="876" y="21236"/>
                  </a:lnTo>
                  <a:lnTo>
                    <a:pt x="1466" y="22665"/>
                  </a:lnTo>
                  <a:lnTo>
                    <a:pt x="2198" y="24058"/>
                  </a:lnTo>
                  <a:lnTo>
                    <a:pt x="3073" y="25398"/>
                  </a:lnTo>
                  <a:lnTo>
                    <a:pt x="4091" y="26648"/>
                  </a:lnTo>
                  <a:lnTo>
                    <a:pt x="4663" y="27238"/>
                  </a:lnTo>
                  <a:lnTo>
                    <a:pt x="5252" y="27809"/>
                  </a:lnTo>
                  <a:lnTo>
                    <a:pt x="6502" y="28827"/>
                  </a:lnTo>
                  <a:lnTo>
                    <a:pt x="7842" y="29702"/>
                  </a:lnTo>
                  <a:lnTo>
                    <a:pt x="9235" y="30435"/>
                  </a:lnTo>
                  <a:lnTo>
                    <a:pt x="10664" y="31024"/>
                  </a:lnTo>
                  <a:lnTo>
                    <a:pt x="12146" y="31453"/>
                  </a:lnTo>
                  <a:lnTo>
                    <a:pt x="13664" y="31756"/>
                  </a:lnTo>
                  <a:lnTo>
                    <a:pt x="15182" y="31899"/>
                  </a:lnTo>
                  <a:lnTo>
                    <a:pt x="16718" y="31899"/>
                  </a:lnTo>
                  <a:lnTo>
                    <a:pt x="18237" y="31756"/>
                  </a:lnTo>
                  <a:lnTo>
                    <a:pt x="19755" y="31453"/>
                  </a:lnTo>
                  <a:lnTo>
                    <a:pt x="21237" y="31024"/>
                  </a:lnTo>
                  <a:lnTo>
                    <a:pt x="22684" y="30435"/>
                  </a:lnTo>
                  <a:lnTo>
                    <a:pt x="24059" y="29702"/>
                  </a:lnTo>
                  <a:lnTo>
                    <a:pt x="25399" y="28827"/>
                  </a:lnTo>
                  <a:lnTo>
                    <a:pt x="26649" y="27809"/>
                  </a:lnTo>
                  <a:lnTo>
                    <a:pt x="27238" y="27238"/>
                  </a:lnTo>
                  <a:lnTo>
                    <a:pt x="27810" y="26648"/>
                  </a:lnTo>
                  <a:lnTo>
                    <a:pt x="28828" y="25398"/>
                  </a:lnTo>
                  <a:lnTo>
                    <a:pt x="29703" y="24058"/>
                  </a:lnTo>
                  <a:lnTo>
                    <a:pt x="30435" y="22665"/>
                  </a:lnTo>
                  <a:lnTo>
                    <a:pt x="31025" y="21236"/>
                  </a:lnTo>
                  <a:lnTo>
                    <a:pt x="31471" y="19754"/>
                  </a:lnTo>
                  <a:lnTo>
                    <a:pt x="31757" y="18236"/>
                  </a:lnTo>
                  <a:lnTo>
                    <a:pt x="31900" y="16718"/>
                  </a:lnTo>
                  <a:lnTo>
                    <a:pt x="31900" y="15182"/>
                  </a:lnTo>
                  <a:lnTo>
                    <a:pt x="31757" y="13646"/>
                  </a:lnTo>
                  <a:lnTo>
                    <a:pt x="31471" y="12145"/>
                  </a:lnTo>
                  <a:lnTo>
                    <a:pt x="31025" y="10663"/>
                  </a:lnTo>
                  <a:lnTo>
                    <a:pt x="30435" y="9216"/>
                  </a:lnTo>
                  <a:lnTo>
                    <a:pt x="29703" y="7823"/>
                  </a:lnTo>
                  <a:lnTo>
                    <a:pt x="28828" y="6502"/>
                  </a:lnTo>
                  <a:lnTo>
                    <a:pt x="27810" y="5251"/>
                  </a:lnTo>
                  <a:lnTo>
                    <a:pt x="27238" y="4662"/>
                  </a:lnTo>
                  <a:lnTo>
                    <a:pt x="26649" y="4090"/>
                  </a:lnTo>
                  <a:lnTo>
                    <a:pt x="25399" y="3055"/>
                  </a:lnTo>
                  <a:lnTo>
                    <a:pt x="24059" y="2179"/>
                  </a:lnTo>
                  <a:lnTo>
                    <a:pt x="22684" y="1447"/>
                  </a:lnTo>
                  <a:lnTo>
                    <a:pt x="21237" y="876"/>
                  </a:lnTo>
                  <a:lnTo>
                    <a:pt x="19755" y="429"/>
                  </a:lnTo>
                  <a:lnTo>
                    <a:pt x="18237" y="143"/>
                  </a:lnTo>
                  <a:lnTo>
                    <a:pt x="16718" y="0"/>
                  </a:lnTo>
                  <a:close/>
                </a:path>
              </a:pathLst>
            </a:custGeom>
            <a:grpFill/>
            <a:ln>
              <a:solidFill>
                <a:schemeClr val="accent1"/>
              </a:solidFill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35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arkForMC Nrw O"/>
                <a:ea typeface="+mn-ea"/>
                <a:cs typeface="+mn-cs"/>
              </a:endParaRPr>
            </a:p>
          </p:txBody>
        </p:sp>
      </p:grpSp>
      <p:sp>
        <p:nvSpPr>
          <p:cNvPr id="22" name="TextBox 21">
            <a:extLst>
              <a:ext uri="{FF2B5EF4-FFF2-40B4-BE49-F238E27FC236}">
                <a16:creationId xmlns:a16="http://schemas.microsoft.com/office/drawing/2014/main" id="{3850BDAC-EC0A-7923-9BA0-7CB0C3CCE520}"/>
              </a:ext>
            </a:extLst>
          </p:cNvPr>
          <p:cNvSpPr txBox="1"/>
          <p:nvPr/>
        </p:nvSpPr>
        <p:spPr bwMode="gray">
          <a:xfrm>
            <a:off x="4085504" y="3008140"/>
            <a:ext cx="4188973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Mark Offc For MC-MarkF-ZCAE7wLp"/>
                <a:ea typeface="+mn-ea"/>
                <a:cs typeface="+mn-cs"/>
              </a:rPr>
              <a:t>Hindered economic growth </a:t>
            </a:r>
          </a:p>
        </p:txBody>
      </p:sp>
      <p:grpSp>
        <p:nvGrpSpPr>
          <p:cNvPr id="23" name="Group 22">
            <a:extLst>
              <a:ext uri="{FF2B5EF4-FFF2-40B4-BE49-F238E27FC236}">
                <a16:creationId xmlns:a16="http://schemas.microsoft.com/office/drawing/2014/main" id="{5093D959-D24A-2FFF-E886-D23A38817F1B}"/>
              </a:ext>
            </a:extLst>
          </p:cNvPr>
          <p:cNvGrpSpPr/>
          <p:nvPr/>
        </p:nvGrpSpPr>
        <p:grpSpPr>
          <a:xfrm>
            <a:off x="3557838" y="2930773"/>
            <a:ext cx="490136" cy="479609"/>
            <a:chOff x="6566052" y="1869146"/>
            <a:chExt cx="720000" cy="720000"/>
          </a:xfrm>
          <a:solidFill>
            <a:schemeClr val="accent2"/>
          </a:solidFill>
        </p:grpSpPr>
        <p:sp>
          <p:nvSpPr>
            <p:cNvPr id="24" name="Google Shape;509;p29">
              <a:extLst>
                <a:ext uri="{FF2B5EF4-FFF2-40B4-BE49-F238E27FC236}">
                  <a16:creationId xmlns:a16="http://schemas.microsoft.com/office/drawing/2014/main" id="{AD0B4A37-9CA8-4D03-20AD-75062AFD8572}"/>
                </a:ext>
              </a:extLst>
            </p:cNvPr>
            <p:cNvSpPr/>
            <p:nvPr/>
          </p:nvSpPr>
          <p:spPr>
            <a:xfrm>
              <a:off x="6566052" y="1869146"/>
              <a:ext cx="720000" cy="720000"/>
            </a:xfrm>
            <a:custGeom>
              <a:avLst/>
              <a:gdLst/>
              <a:ahLst/>
              <a:cxnLst/>
              <a:rect l="l" t="t" r="r" b="b"/>
              <a:pathLst>
                <a:path w="38258" h="38258" extrusionOk="0">
                  <a:moveTo>
                    <a:pt x="19165" y="411"/>
                  </a:moveTo>
                  <a:lnTo>
                    <a:pt x="19969" y="429"/>
                  </a:lnTo>
                  <a:lnTo>
                    <a:pt x="21576" y="554"/>
                  </a:lnTo>
                  <a:lnTo>
                    <a:pt x="23148" y="840"/>
                  </a:lnTo>
                  <a:lnTo>
                    <a:pt x="24684" y="1232"/>
                  </a:lnTo>
                  <a:lnTo>
                    <a:pt x="26184" y="1768"/>
                  </a:lnTo>
                  <a:lnTo>
                    <a:pt x="27631" y="2429"/>
                  </a:lnTo>
                  <a:lnTo>
                    <a:pt x="29024" y="3215"/>
                  </a:lnTo>
                  <a:lnTo>
                    <a:pt x="30346" y="4126"/>
                  </a:lnTo>
                  <a:lnTo>
                    <a:pt x="30989" y="4626"/>
                  </a:lnTo>
                  <a:lnTo>
                    <a:pt x="31632" y="5162"/>
                  </a:lnTo>
                  <a:lnTo>
                    <a:pt x="32828" y="6341"/>
                  </a:lnTo>
                  <a:lnTo>
                    <a:pt x="33918" y="7609"/>
                  </a:lnTo>
                  <a:lnTo>
                    <a:pt x="34864" y="8930"/>
                  </a:lnTo>
                  <a:lnTo>
                    <a:pt x="35686" y="10341"/>
                  </a:lnTo>
                  <a:lnTo>
                    <a:pt x="36383" y="11806"/>
                  </a:lnTo>
                  <a:lnTo>
                    <a:pt x="36954" y="13306"/>
                  </a:lnTo>
                  <a:lnTo>
                    <a:pt x="37383" y="14860"/>
                  </a:lnTo>
                  <a:lnTo>
                    <a:pt x="37686" y="16432"/>
                  </a:lnTo>
                  <a:lnTo>
                    <a:pt x="37847" y="18039"/>
                  </a:lnTo>
                  <a:lnTo>
                    <a:pt x="37883" y="19647"/>
                  </a:lnTo>
                  <a:lnTo>
                    <a:pt x="37758" y="21272"/>
                  </a:lnTo>
                  <a:lnTo>
                    <a:pt x="37508" y="22879"/>
                  </a:lnTo>
                  <a:lnTo>
                    <a:pt x="37115" y="24469"/>
                  </a:lnTo>
                  <a:lnTo>
                    <a:pt x="36561" y="26023"/>
                  </a:lnTo>
                  <a:lnTo>
                    <a:pt x="35882" y="27559"/>
                  </a:lnTo>
                  <a:lnTo>
                    <a:pt x="35472" y="28309"/>
                  </a:lnTo>
                  <a:lnTo>
                    <a:pt x="35043" y="29041"/>
                  </a:lnTo>
                  <a:lnTo>
                    <a:pt x="34096" y="30434"/>
                  </a:lnTo>
                  <a:lnTo>
                    <a:pt x="33025" y="31702"/>
                  </a:lnTo>
                  <a:lnTo>
                    <a:pt x="31882" y="32863"/>
                  </a:lnTo>
                  <a:lnTo>
                    <a:pt x="30631" y="33917"/>
                  </a:lnTo>
                  <a:lnTo>
                    <a:pt x="29310" y="34864"/>
                  </a:lnTo>
                  <a:lnTo>
                    <a:pt x="27917" y="35667"/>
                  </a:lnTo>
                  <a:lnTo>
                    <a:pt x="26470" y="36364"/>
                  </a:lnTo>
                  <a:lnTo>
                    <a:pt x="24970" y="36918"/>
                  </a:lnTo>
                  <a:lnTo>
                    <a:pt x="23416" y="37364"/>
                  </a:lnTo>
                  <a:lnTo>
                    <a:pt x="21826" y="37650"/>
                  </a:lnTo>
                  <a:lnTo>
                    <a:pt x="20219" y="37811"/>
                  </a:lnTo>
                  <a:lnTo>
                    <a:pt x="18594" y="37846"/>
                  </a:lnTo>
                  <a:lnTo>
                    <a:pt x="16950" y="37721"/>
                  </a:lnTo>
                  <a:lnTo>
                    <a:pt x="15325" y="37453"/>
                  </a:lnTo>
                  <a:lnTo>
                    <a:pt x="13700" y="37025"/>
                  </a:lnTo>
                  <a:lnTo>
                    <a:pt x="12896" y="36757"/>
                  </a:lnTo>
                  <a:lnTo>
                    <a:pt x="12092" y="36453"/>
                  </a:lnTo>
                  <a:lnTo>
                    <a:pt x="10556" y="35757"/>
                  </a:lnTo>
                  <a:lnTo>
                    <a:pt x="9127" y="34935"/>
                  </a:lnTo>
                  <a:lnTo>
                    <a:pt x="7788" y="33988"/>
                  </a:lnTo>
                  <a:lnTo>
                    <a:pt x="6538" y="32953"/>
                  </a:lnTo>
                  <a:lnTo>
                    <a:pt x="5395" y="31810"/>
                  </a:lnTo>
                  <a:lnTo>
                    <a:pt x="4341" y="30577"/>
                  </a:lnTo>
                  <a:lnTo>
                    <a:pt x="3412" y="29255"/>
                  </a:lnTo>
                  <a:lnTo>
                    <a:pt x="2608" y="27862"/>
                  </a:lnTo>
                  <a:lnTo>
                    <a:pt x="1912" y="26416"/>
                  </a:lnTo>
                  <a:lnTo>
                    <a:pt x="1358" y="24915"/>
                  </a:lnTo>
                  <a:lnTo>
                    <a:pt x="912" y="23344"/>
                  </a:lnTo>
                  <a:lnTo>
                    <a:pt x="626" y="21754"/>
                  </a:lnTo>
                  <a:lnTo>
                    <a:pt x="465" y="20111"/>
                  </a:lnTo>
                  <a:lnTo>
                    <a:pt x="447" y="18450"/>
                  </a:lnTo>
                  <a:lnTo>
                    <a:pt x="590" y="16789"/>
                  </a:lnTo>
                  <a:lnTo>
                    <a:pt x="715" y="15949"/>
                  </a:lnTo>
                  <a:lnTo>
                    <a:pt x="876" y="15110"/>
                  </a:lnTo>
                  <a:lnTo>
                    <a:pt x="1305" y="13485"/>
                  </a:lnTo>
                  <a:lnTo>
                    <a:pt x="1876" y="11931"/>
                  </a:lnTo>
                  <a:lnTo>
                    <a:pt x="2573" y="10448"/>
                  </a:lnTo>
                  <a:lnTo>
                    <a:pt x="3394" y="9037"/>
                  </a:lnTo>
                  <a:lnTo>
                    <a:pt x="4323" y="7716"/>
                  </a:lnTo>
                  <a:lnTo>
                    <a:pt x="5359" y="6483"/>
                  </a:lnTo>
                  <a:lnTo>
                    <a:pt x="6502" y="5340"/>
                  </a:lnTo>
                  <a:lnTo>
                    <a:pt x="7734" y="4304"/>
                  </a:lnTo>
                  <a:lnTo>
                    <a:pt x="9038" y="3376"/>
                  </a:lnTo>
                  <a:lnTo>
                    <a:pt x="10431" y="2572"/>
                  </a:lnTo>
                  <a:lnTo>
                    <a:pt x="11896" y="1875"/>
                  </a:lnTo>
                  <a:lnTo>
                    <a:pt x="13432" y="1304"/>
                  </a:lnTo>
                  <a:lnTo>
                    <a:pt x="15004" y="875"/>
                  </a:lnTo>
                  <a:lnTo>
                    <a:pt x="16647" y="572"/>
                  </a:lnTo>
                  <a:lnTo>
                    <a:pt x="18308" y="429"/>
                  </a:lnTo>
                  <a:lnTo>
                    <a:pt x="19165" y="411"/>
                  </a:lnTo>
                  <a:close/>
                  <a:moveTo>
                    <a:pt x="19487" y="0"/>
                  </a:moveTo>
                  <a:lnTo>
                    <a:pt x="17272" y="107"/>
                  </a:lnTo>
                  <a:lnTo>
                    <a:pt x="15075" y="447"/>
                  </a:lnTo>
                  <a:lnTo>
                    <a:pt x="12950" y="1036"/>
                  </a:lnTo>
                  <a:lnTo>
                    <a:pt x="10896" y="1875"/>
                  </a:lnTo>
                  <a:lnTo>
                    <a:pt x="8949" y="2947"/>
                  </a:lnTo>
                  <a:lnTo>
                    <a:pt x="7127" y="4251"/>
                  </a:lnTo>
                  <a:lnTo>
                    <a:pt x="5448" y="5751"/>
                  </a:lnTo>
                  <a:lnTo>
                    <a:pt x="3948" y="7484"/>
                  </a:lnTo>
                  <a:lnTo>
                    <a:pt x="2662" y="9430"/>
                  </a:lnTo>
                  <a:lnTo>
                    <a:pt x="1572" y="11556"/>
                  </a:lnTo>
                  <a:lnTo>
                    <a:pt x="1144" y="12717"/>
                  </a:lnTo>
                  <a:lnTo>
                    <a:pt x="751" y="13878"/>
                  </a:lnTo>
                  <a:lnTo>
                    <a:pt x="233" y="16217"/>
                  </a:lnTo>
                  <a:lnTo>
                    <a:pt x="1" y="18539"/>
                  </a:lnTo>
                  <a:lnTo>
                    <a:pt x="72" y="20825"/>
                  </a:lnTo>
                  <a:lnTo>
                    <a:pt x="412" y="23058"/>
                  </a:lnTo>
                  <a:lnTo>
                    <a:pt x="1001" y="25219"/>
                  </a:lnTo>
                  <a:lnTo>
                    <a:pt x="1823" y="27273"/>
                  </a:lnTo>
                  <a:lnTo>
                    <a:pt x="2894" y="29220"/>
                  </a:lnTo>
                  <a:lnTo>
                    <a:pt x="4162" y="31042"/>
                  </a:lnTo>
                  <a:lnTo>
                    <a:pt x="5645" y="32685"/>
                  </a:lnTo>
                  <a:lnTo>
                    <a:pt x="7288" y="34167"/>
                  </a:lnTo>
                  <a:lnTo>
                    <a:pt x="9127" y="35453"/>
                  </a:lnTo>
                  <a:lnTo>
                    <a:pt x="11110" y="36525"/>
                  </a:lnTo>
                  <a:lnTo>
                    <a:pt x="13253" y="37346"/>
                  </a:lnTo>
                  <a:lnTo>
                    <a:pt x="15504" y="37936"/>
                  </a:lnTo>
                  <a:lnTo>
                    <a:pt x="17879" y="38221"/>
                  </a:lnTo>
                  <a:lnTo>
                    <a:pt x="19111" y="38257"/>
                  </a:lnTo>
                  <a:lnTo>
                    <a:pt x="20094" y="38239"/>
                  </a:lnTo>
                  <a:lnTo>
                    <a:pt x="21076" y="38150"/>
                  </a:lnTo>
                  <a:lnTo>
                    <a:pt x="21791" y="38079"/>
                  </a:lnTo>
                  <a:lnTo>
                    <a:pt x="23202" y="37828"/>
                  </a:lnTo>
                  <a:lnTo>
                    <a:pt x="24577" y="37471"/>
                  </a:lnTo>
                  <a:lnTo>
                    <a:pt x="25916" y="37025"/>
                  </a:lnTo>
                  <a:lnTo>
                    <a:pt x="27202" y="36471"/>
                  </a:lnTo>
                  <a:lnTo>
                    <a:pt x="28453" y="35846"/>
                  </a:lnTo>
                  <a:lnTo>
                    <a:pt x="29649" y="35114"/>
                  </a:lnTo>
                  <a:lnTo>
                    <a:pt x="30774" y="34310"/>
                  </a:lnTo>
                  <a:lnTo>
                    <a:pt x="31846" y="33435"/>
                  </a:lnTo>
                  <a:lnTo>
                    <a:pt x="32846" y="32470"/>
                  </a:lnTo>
                  <a:lnTo>
                    <a:pt x="33775" y="31434"/>
                  </a:lnTo>
                  <a:lnTo>
                    <a:pt x="34650" y="30327"/>
                  </a:lnTo>
                  <a:lnTo>
                    <a:pt x="35418" y="29166"/>
                  </a:lnTo>
                  <a:lnTo>
                    <a:pt x="36115" y="27934"/>
                  </a:lnTo>
                  <a:lnTo>
                    <a:pt x="36722" y="26666"/>
                  </a:lnTo>
                  <a:lnTo>
                    <a:pt x="37240" y="25326"/>
                  </a:lnTo>
                  <a:lnTo>
                    <a:pt x="37454" y="24630"/>
                  </a:lnTo>
                  <a:lnTo>
                    <a:pt x="37651" y="23933"/>
                  </a:lnTo>
                  <a:lnTo>
                    <a:pt x="37954" y="22540"/>
                  </a:lnTo>
                  <a:lnTo>
                    <a:pt x="38151" y="21129"/>
                  </a:lnTo>
                  <a:lnTo>
                    <a:pt x="38258" y="19718"/>
                  </a:lnTo>
                  <a:lnTo>
                    <a:pt x="38240" y="18325"/>
                  </a:lnTo>
                  <a:lnTo>
                    <a:pt x="38133" y="16932"/>
                  </a:lnTo>
                  <a:lnTo>
                    <a:pt x="37919" y="15557"/>
                  </a:lnTo>
                  <a:lnTo>
                    <a:pt x="37615" y="14199"/>
                  </a:lnTo>
                  <a:lnTo>
                    <a:pt x="37204" y="12877"/>
                  </a:lnTo>
                  <a:lnTo>
                    <a:pt x="36704" y="11574"/>
                  </a:lnTo>
                  <a:lnTo>
                    <a:pt x="36115" y="10323"/>
                  </a:lnTo>
                  <a:lnTo>
                    <a:pt x="35418" y="9109"/>
                  </a:lnTo>
                  <a:lnTo>
                    <a:pt x="34632" y="7930"/>
                  </a:lnTo>
                  <a:lnTo>
                    <a:pt x="33775" y="6823"/>
                  </a:lnTo>
                  <a:lnTo>
                    <a:pt x="32810" y="5769"/>
                  </a:lnTo>
                  <a:lnTo>
                    <a:pt x="31775" y="4787"/>
                  </a:lnTo>
                  <a:lnTo>
                    <a:pt x="31221" y="4322"/>
                  </a:lnTo>
                  <a:lnTo>
                    <a:pt x="30256" y="3572"/>
                  </a:lnTo>
                  <a:lnTo>
                    <a:pt x="28220" y="2286"/>
                  </a:lnTo>
                  <a:lnTo>
                    <a:pt x="26113" y="1304"/>
                  </a:lnTo>
                  <a:lnTo>
                    <a:pt x="23934" y="607"/>
                  </a:lnTo>
                  <a:lnTo>
                    <a:pt x="21719" y="179"/>
                  </a:lnTo>
                  <a:lnTo>
                    <a:pt x="19487" y="0"/>
                  </a:lnTo>
                  <a:close/>
                </a:path>
              </a:pathLst>
            </a:custGeom>
            <a:grpFill/>
            <a:ln w="28575" cap="flat" cmpd="sng">
              <a:solidFill>
                <a:schemeClr val="accent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35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arkForMC Nrw O"/>
                <a:ea typeface="+mn-ea"/>
                <a:cs typeface="+mn-cs"/>
              </a:endParaRPr>
            </a:p>
          </p:txBody>
        </p:sp>
        <p:sp>
          <p:nvSpPr>
            <p:cNvPr id="25" name="Google Shape;504;p29">
              <a:extLst>
                <a:ext uri="{FF2B5EF4-FFF2-40B4-BE49-F238E27FC236}">
                  <a16:creationId xmlns:a16="http://schemas.microsoft.com/office/drawing/2014/main" id="{6E27217F-7F83-40EE-BA1B-E245CCF8A71C}"/>
                </a:ext>
              </a:extLst>
            </p:cNvPr>
            <p:cNvSpPr/>
            <p:nvPr/>
          </p:nvSpPr>
          <p:spPr>
            <a:xfrm>
              <a:off x="6657429" y="1966145"/>
              <a:ext cx="540000" cy="540000"/>
            </a:xfrm>
            <a:custGeom>
              <a:avLst/>
              <a:gdLst/>
              <a:ahLst/>
              <a:cxnLst/>
              <a:rect l="l" t="t" r="r" b="b"/>
              <a:pathLst>
                <a:path w="31900" h="31900" extrusionOk="0">
                  <a:moveTo>
                    <a:pt x="15182" y="0"/>
                  </a:moveTo>
                  <a:lnTo>
                    <a:pt x="13664" y="143"/>
                  </a:lnTo>
                  <a:lnTo>
                    <a:pt x="12146" y="429"/>
                  </a:lnTo>
                  <a:lnTo>
                    <a:pt x="10664" y="876"/>
                  </a:lnTo>
                  <a:lnTo>
                    <a:pt x="9235" y="1447"/>
                  </a:lnTo>
                  <a:lnTo>
                    <a:pt x="7842" y="2179"/>
                  </a:lnTo>
                  <a:lnTo>
                    <a:pt x="6502" y="3055"/>
                  </a:lnTo>
                  <a:lnTo>
                    <a:pt x="5252" y="4090"/>
                  </a:lnTo>
                  <a:lnTo>
                    <a:pt x="4663" y="4662"/>
                  </a:lnTo>
                  <a:lnTo>
                    <a:pt x="4091" y="5251"/>
                  </a:lnTo>
                  <a:lnTo>
                    <a:pt x="3073" y="6502"/>
                  </a:lnTo>
                  <a:lnTo>
                    <a:pt x="2198" y="7823"/>
                  </a:lnTo>
                  <a:lnTo>
                    <a:pt x="1466" y="9216"/>
                  </a:lnTo>
                  <a:lnTo>
                    <a:pt x="876" y="10663"/>
                  </a:lnTo>
                  <a:lnTo>
                    <a:pt x="430" y="12145"/>
                  </a:lnTo>
                  <a:lnTo>
                    <a:pt x="144" y="13646"/>
                  </a:lnTo>
                  <a:lnTo>
                    <a:pt x="1" y="15182"/>
                  </a:lnTo>
                  <a:lnTo>
                    <a:pt x="1" y="16718"/>
                  </a:lnTo>
                  <a:lnTo>
                    <a:pt x="144" y="18236"/>
                  </a:lnTo>
                  <a:lnTo>
                    <a:pt x="430" y="19754"/>
                  </a:lnTo>
                  <a:lnTo>
                    <a:pt x="876" y="21236"/>
                  </a:lnTo>
                  <a:lnTo>
                    <a:pt x="1466" y="22665"/>
                  </a:lnTo>
                  <a:lnTo>
                    <a:pt x="2198" y="24058"/>
                  </a:lnTo>
                  <a:lnTo>
                    <a:pt x="3073" y="25398"/>
                  </a:lnTo>
                  <a:lnTo>
                    <a:pt x="4091" y="26648"/>
                  </a:lnTo>
                  <a:lnTo>
                    <a:pt x="4663" y="27238"/>
                  </a:lnTo>
                  <a:lnTo>
                    <a:pt x="5252" y="27809"/>
                  </a:lnTo>
                  <a:lnTo>
                    <a:pt x="6502" y="28827"/>
                  </a:lnTo>
                  <a:lnTo>
                    <a:pt x="7842" y="29702"/>
                  </a:lnTo>
                  <a:lnTo>
                    <a:pt x="9235" y="30435"/>
                  </a:lnTo>
                  <a:lnTo>
                    <a:pt x="10664" y="31024"/>
                  </a:lnTo>
                  <a:lnTo>
                    <a:pt x="12146" y="31453"/>
                  </a:lnTo>
                  <a:lnTo>
                    <a:pt x="13664" y="31756"/>
                  </a:lnTo>
                  <a:lnTo>
                    <a:pt x="15182" y="31899"/>
                  </a:lnTo>
                  <a:lnTo>
                    <a:pt x="16718" y="31899"/>
                  </a:lnTo>
                  <a:lnTo>
                    <a:pt x="18237" y="31756"/>
                  </a:lnTo>
                  <a:lnTo>
                    <a:pt x="19755" y="31453"/>
                  </a:lnTo>
                  <a:lnTo>
                    <a:pt x="21237" y="31024"/>
                  </a:lnTo>
                  <a:lnTo>
                    <a:pt x="22684" y="30435"/>
                  </a:lnTo>
                  <a:lnTo>
                    <a:pt x="24059" y="29702"/>
                  </a:lnTo>
                  <a:lnTo>
                    <a:pt x="25399" y="28827"/>
                  </a:lnTo>
                  <a:lnTo>
                    <a:pt x="26649" y="27809"/>
                  </a:lnTo>
                  <a:lnTo>
                    <a:pt x="27238" y="27238"/>
                  </a:lnTo>
                  <a:lnTo>
                    <a:pt x="27810" y="26648"/>
                  </a:lnTo>
                  <a:lnTo>
                    <a:pt x="28828" y="25398"/>
                  </a:lnTo>
                  <a:lnTo>
                    <a:pt x="29703" y="24058"/>
                  </a:lnTo>
                  <a:lnTo>
                    <a:pt x="30435" y="22665"/>
                  </a:lnTo>
                  <a:lnTo>
                    <a:pt x="31025" y="21236"/>
                  </a:lnTo>
                  <a:lnTo>
                    <a:pt x="31471" y="19754"/>
                  </a:lnTo>
                  <a:lnTo>
                    <a:pt x="31757" y="18236"/>
                  </a:lnTo>
                  <a:lnTo>
                    <a:pt x="31900" y="16718"/>
                  </a:lnTo>
                  <a:lnTo>
                    <a:pt x="31900" y="15182"/>
                  </a:lnTo>
                  <a:lnTo>
                    <a:pt x="31757" y="13646"/>
                  </a:lnTo>
                  <a:lnTo>
                    <a:pt x="31471" y="12145"/>
                  </a:lnTo>
                  <a:lnTo>
                    <a:pt x="31025" y="10663"/>
                  </a:lnTo>
                  <a:lnTo>
                    <a:pt x="30435" y="9216"/>
                  </a:lnTo>
                  <a:lnTo>
                    <a:pt x="29703" y="7823"/>
                  </a:lnTo>
                  <a:lnTo>
                    <a:pt x="28828" y="6502"/>
                  </a:lnTo>
                  <a:lnTo>
                    <a:pt x="27810" y="5251"/>
                  </a:lnTo>
                  <a:lnTo>
                    <a:pt x="27238" y="4662"/>
                  </a:lnTo>
                  <a:lnTo>
                    <a:pt x="26649" y="4090"/>
                  </a:lnTo>
                  <a:lnTo>
                    <a:pt x="25399" y="3055"/>
                  </a:lnTo>
                  <a:lnTo>
                    <a:pt x="24059" y="2179"/>
                  </a:lnTo>
                  <a:lnTo>
                    <a:pt x="22684" y="1447"/>
                  </a:lnTo>
                  <a:lnTo>
                    <a:pt x="21237" y="876"/>
                  </a:lnTo>
                  <a:lnTo>
                    <a:pt x="19755" y="429"/>
                  </a:lnTo>
                  <a:lnTo>
                    <a:pt x="18237" y="143"/>
                  </a:lnTo>
                  <a:lnTo>
                    <a:pt x="16718" y="0"/>
                  </a:lnTo>
                  <a:close/>
                </a:path>
              </a:pathLst>
            </a:custGeom>
            <a:grpFill/>
            <a:ln>
              <a:solidFill>
                <a:schemeClr val="accent1"/>
              </a:solidFill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35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arkForMC Nrw O"/>
                <a:ea typeface="+mn-ea"/>
                <a:cs typeface="+mn-cs"/>
              </a:endParaRPr>
            </a:p>
          </p:txBody>
        </p:sp>
      </p:grpSp>
      <p:sp>
        <p:nvSpPr>
          <p:cNvPr id="26" name="TextBox 25">
            <a:extLst>
              <a:ext uri="{FF2B5EF4-FFF2-40B4-BE49-F238E27FC236}">
                <a16:creationId xmlns:a16="http://schemas.microsoft.com/office/drawing/2014/main" id="{4DEEF30E-5D24-877F-B148-E9C1C570AF44}"/>
              </a:ext>
            </a:extLst>
          </p:cNvPr>
          <p:cNvSpPr txBox="1"/>
          <p:nvPr/>
        </p:nvSpPr>
        <p:spPr bwMode="gray">
          <a:xfrm>
            <a:off x="4085504" y="3611690"/>
            <a:ext cx="4188973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Mark Offc For MC-MarkF-ZCAE7wLp"/>
                <a:ea typeface="+mn-ea"/>
                <a:cs typeface="+mn-cs"/>
              </a:rPr>
              <a:t>Crime and corruption</a:t>
            </a:r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3A0147CC-2560-977C-0EC4-E5CF01E26695}"/>
              </a:ext>
            </a:extLst>
          </p:cNvPr>
          <p:cNvGrpSpPr/>
          <p:nvPr/>
        </p:nvGrpSpPr>
        <p:grpSpPr>
          <a:xfrm>
            <a:off x="3556953" y="3507396"/>
            <a:ext cx="490136" cy="479609"/>
            <a:chOff x="6566052" y="1869146"/>
            <a:chExt cx="720000" cy="720000"/>
          </a:xfrm>
          <a:solidFill>
            <a:schemeClr val="accent2"/>
          </a:solidFill>
        </p:grpSpPr>
        <p:sp>
          <p:nvSpPr>
            <p:cNvPr id="28" name="Google Shape;509;p29">
              <a:extLst>
                <a:ext uri="{FF2B5EF4-FFF2-40B4-BE49-F238E27FC236}">
                  <a16:creationId xmlns:a16="http://schemas.microsoft.com/office/drawing/2014/main" id="{87159D8E-1047-A8E1-8F1B-CB743DC95D1D}"/>
                </a:ext>
              </a:extLst>
            </p:cNvPr>
            <p:cNvSpPr/>
            <p:nvPr/>
          </p:nvSpPr>
          <p:spPr>
            <a:xfrm>
              <a:off x="6566052" y="1869146"/>
              <a:ext cx="720000" cy="720000"/>
            </a:xfrm>
            <a:custGeom>
              <a:avLst/>
              <a:gdLst/>
              <a:ahLst/>
              <a:cxnLst/>
              <a:rect l="l" t="t" r="r" b="b"/>
              <a:pathLst>
                <a:path w="38258" h="38258" extrusionOk="0">
                  <a:moveTo>
                    <a:pt x="19165" y="411"/>
                  </a:moveTo>
                  <a:lnTo>
                    <a:pt x="19969" y="429"/>
                  </a:lnTo>
                  <a:lnTo>
                    <a:pt x="21576" y="554"/>
                  </a:lnTo>
                  <a:lnTo>
                    <a:pt x="23148" y="840"/>
                  </a:lnTo>
                  <a:lnTo>
                    <a:pt x="24684" y="1232"/>
                  </a:lnTo>
                  <a:lnTo>
                    <a:pt x="26184" y="1768"/>
                  </a:lnTo>
                  <a:lnTo>
                    <a:pt x="27631" y="2429"/>
                  </a:lnTo>
                  <a:lnTo>
                    <a:pt x="29024" y="3215"/>
                  </a:lnTo>
                  <a:lnTo>
                    <a:pt x="30346" y="4126"/>
                  </a:lnTo>
                  <a:lnTo>
                    <a:pt x="30989" y="4626"/>
                  </a:lnTo>
                  <a:lnTo>
                    <a:pt x="31632" y="5162"/>
                  </a:lnTo>
                  <a:lnTo>
                    <a:pt x="32828" y="6341"/>
                  </a:lnTo>
                  <a:lnTo>
                    <a:pt x="33918" y="7609"/>
                  </a:lnTo>
                  <a:lnTo>
                    <a:pt x="34864" y="8930"/>
                  </a:lnTo>
                  <a:lnTo>
                    <a:pt x="35686" y="10341"/>
                  </a:lnTo>
                  <a:lnTo>
                    <a:pt x="36383" y="11806"/>
                  </a:lnTo>
                  <a:lnTo>
                    <a:pt x="36954" y="13306"/>
                  </a:lnTo>
                  <a:lnTo>
                    <a:pt x="37383" y="14860"/>
                  </a:lnTo>
                  <a:lnTo>
                    <a:pt x="37686" y="16432"/>
                  </a:lnTo>
                  <a:lnTo>
                    <a:pt x="37847" y="18039"/>
                  </a:lnTo>
                  <a:lnTo>
                    <a:pt x="37883" y="19647"/>
                  </a:lnTo>
                  <a:lnTo>
                    <a:pt x="37758" y="21272"/>
                  </a:lnTo>
                  <a:lnTo>
                    <a:pt x="37508" y="22879"/>
                  </a:lnTo>
                  <a:lnTo>
                    <a:pt x="37115" y="24469"/>
                  </a:lnTo>
                  <a:lnTo>
                    <a:pt x="36561" y="26023"/>
                  </a:lnTo>
                  <a:lnTo>
                    <a:pt x="35882" y="27559"/>
                  </a:lnTo>
                  <a:lnTo>
                    <a:pt x="35472" y="28309"/>
                  </a:lnTo>
                  <a:lnTo>
                    <a:pt x="35043" y="29041"/>
                  </a:lnTo>
                  <a:lnTo>
                    <a:pt x="34096" y="30434"/>
                  </a:lnTo>
                  <a:lnTo>
                    <a:pt x="33025" y="31702"/>
                  </a:lnTo>
                  <a:lnTo>
                    <a:pt x="31882" y="32863"/>
                  </a:lnTo>
                  <a:lnTo>
                    <a:pt x="30631" y="33917"/>
                  </a:lnTo>
                  <a:lnTo>
                    <a:pt x="29310" y="34864"/>
                  </a:lnTo>
                  <a:lnTo>
                    <a:pt x="27917" y="35667"/>
                  </a:lnTo>
                  <a:lnTo>
                    <a:pt x="26470" y="36364"/>
                  </a:lnTo>
                  <a:lnTo>
                    <a:pt x="24970" y="36918"/>
                  </a:lnTo>
                  <a:lnTo>
                    <a:pt x="23416" y="37364"/>
                  </a:lnTo>
                  <a:lnTo>
                    <a:pt x="21826" y="37650"/>
                  </a:lnTo>
                  <a:lnTo>
                    <a:pt x="20219" y="37811"/>
                  </a:lnTo>
                  <a:lnTo>
                    <a:pt x="18594" y="37846"/>
                  </a:lnTo>
                  <a:lnTo>
                    <a:pt x="16950" y="37721"/>
                  </a:lnTo>
                  <a:lnTo>
                    <a:pt x="15325" y="37453"/>
                  </a:lnTo>
                  <a:lnTo>
                    <a:pt x="13700" y="37025"/>
                  </a:lnTo>
                  <a:lnTo>
                    <a:pt x="12896" y="36757"/>
                  </a:lnTo>
                  <a:lnTo>
                    <a:pt x="12092" y="36453"/>
                  </a:lnTo>
                  <a:lnTo>
                    <a:pt x="10556" y="35757"/>
                  </a:lnTo>
                  <a:lnTo>
                    <a:pt x="9127" y="34935"/>
                  </a:lnTo>
                  <a:lnTo>
                    <a:pt x="7788" y="33988"/>
                  </a:lnTo>
                  <a:lnTo>
                    <a:pt x="6538" y="32953"/>
                  </a:lnTo>
                  <a:lnTo>
                    <a:pt x="5395" y="31810"/>
                  </a:lnTo>
                  <a:lnTo>
                    <a:pt x="4341" y="30577"/>
                  </a:lnTo>
                  <a:lnTo>
                    <a:pt x="3412" y="29255"/>
                  </a:lnTo>
                  <a:lnTo>
                    <a:pt x="2608" y="27862"/>
                  </a:lnTo>
                  <a:lnTo>
                    <a:pt x="1912" y="26416"/>
                  </a:lnTo>
                  <a:lnTo>
                    <a:pt x="1358" y="24915"/>
                  </a:lnTo>
                  <a:lnTo>
                    <a:pt x="912" y="23344"/>
                  </a:lnTo>
                  <a:lnTo>
                    <a:pt x="626" y="21754"/>
                  </a:lnTo>
                  <a:lnTo>
                    <a:pt x="465" y="20111"/>
                  </a:lnTo>
                  <a:lnTo>
                    <a:pt x="447" y="18450"/>
                  </a:lnTo>
                  <a:lnTo>
                    <a:pt x="590" y="16789"/>
                  </a:lnTo>
                  <a:lnTo>
                    <a:pt x="715" y="15949"/>
                  </a:lnTo>
                  <a:lnTo>
                    <a:pt x="876" y="15110"/>
                  </a:lnTo>
                  <a:lnTo>
                    <a:pt x="1305" y="13485"/>
                  </a:lnTo>
                  <a:lnTo>
                    <a:pt x="1876" y="11931"/>
                  </a:lnTo>
                  <a:lnTo>
                    <a:pt x="2573" y="10448"/>
                  </a:lnTo>
                  <a:lnTo>
                    <a:pt x="3394" y="9037"/>
                  </a:lnTo>
                  <a:lnTo>
                    <a:pt x="4323" y="7716"/>
                  </a:lnTo>
                  <a:lnTo>
                    <a:pt x="5359" y="6483"/>
                  </a:lnTo>
                  <a:lnTo>
                    <a:pt x="6502" y="5340"/>
                  </a:lnTo>
                  <a:lnTo>
                    <a:pt x="7734" y="4304"/>
                  </a:lnTo>
                  <a:lnTo>
                    <a:pt x="9038" y="3376"/>
                  </a:lnTo>
                  <a:lnTo>
                    <a:pt x="10431" y="2572"/>
                  </a:lnTo>
                  <a:lnTo>
                    <a:pt x="11896" y="1875"/>
                  </a:lnTo>
                  <a:lnTo>
                    <a:pt x="13432" y="1304"/>
                  </a:lnTo>
                  <a:lnTo>
                    <a:pt x="15004" y="875"/>
                  </a:lnTo>
                  <a:lnTo>
                    <a:pt x="16647" y="572"/>
                  </a:lnTo>
                  <a:lnTo>
                    <a:pt x="18308" y="429"/>
                  </a:lnTo>
                  <a:lnTo>
                    <a:pt x="19165" y="411"/>
                  </a:lnTo>
                  <a:close/>
                  <a:moveTo>
                    <a:pt x="19487" y="0"/>
                  </a:moveTo>
                  <a:lnTo>
                    <a:pt x="17272" y="107"/>
                  </a:lnTo>
                  <a:lnTo>
                    <a:pt x="15075" y="447"/>
                  </a:lnTo>
                  <a:lnTo>
                    <a:pt x="12950" y="1036"/>
                  </a:lnTo>
                  <a:lnTo>
                    <a:pt x="10896" y="1875"/>
                  </a:lnTo>
                  <a:lnTo>
                    <a:pt x="8949" y="2947"/>
                  </a:lnTo>
                  <a:lnTo>
                    <a:pt x="7127" y="4251"/>
                  </a:lnTo>
                  <a:lnTo>
                    <a:pt x="5448" y="5751"/>
                  </a:lnTo>
                  <a:lnTo>
                    <a:pt x="3948" y="7484"/>
                  </a:lnTo>
                  <a:lnTo>
                    <a:pt x="2662" y="9430"/>
                  </a:lnTo>
                  <a:lnTo>
                    <a:pt x="1572" y="11556"/>
                  </a:lnTo>
                  <a:lnTo>
                    <a:pt x="1144" y="12717"/>
                  </a:lnTo>
                  <a:lnTo>
                    <a:pt x="751" y="13878"/>
                  </a:lnTo>
                  <a:lnTo>
                    <a:pt x="233" y="16217"/>
                  </a:lnTo>
                  <a:lnTo>
                    <a:pt x="1" y="18539"/>
                  </a:lnTo>
                  <a:lnTo>
                    <a:pt x="72" y="20825"/>
                  </a:lnTo>
                  <a:lnTo>
                    <a:pt x="412" y="23058"/>
                  </a:lnTo>
                  <a:lnTo>
                    <a:pt x="1001" y="25219"/>
                  </a:lnTo>
                  <a:lnTo>
                    <a:pt x="1823" y="27273"/>
                  </a:lnTo>
                  <a:lnTo>
                    <a:pt x="2894" y="29220"/>
                  </a:lnTo>
                  <a:lnTo>
                    <a:pt x="4162" y="31042"/>
                  </a:lnTo>
                  <a:lnTo>
                    <a:pt x="5645" y="32685"/>
                  </a:lnTo>
                  <a:lnTo>
                    <a:pt x="7288" y="34167"/>
                  </a:lnTo>
                  <a:lnTo>
                    <a:pt x="9127" y="35453"/>
                  </a:lnTo>
                  <a:lnTo>
                    <a:pt x="11110" y="36525"/>
                  </a:lnTo>
                  <a:lnTo>
                    <a:pt x="13253" y="37346"/>
                  </a:lnTo>
                  <a:lnTo>
                    <a:pt x="15504" y="37936"/>
                  </a:lnTo>
                  <a:lnTo>
                    <a:pt x="17879" y="38221"/>
                  </a:lnTo>
                  <a:lnTo>
                    <a:pt x="19111" y="38257"/>
                  </a:lnTo>
                  <a:lnTo>
                    <a:pt x="20094" y="38239"/>
                  </a:lnTo>
                  <a:lnTo>
                    <a:pt x="21076" y="38150"/>
                  </a:lnTo>
                  <a:lnTo>
                    <a:pt x="21791" y="38079"/>
                  </a:lnTo>
                  <a:lnTo>
                    <a:pt x="23202" y="37828"/>
                  </a:lnTo>
                  <a:lnTo>
                    <a:pt x="24577" y="37471"/>
                  </a:lnTo>
                  <a:lnTo>
                    <a:pt x="25916" y="37025"/>
                  </a:lnTo>
                  <a:lnTo>
                    <a:pt x="27202" y="36471"/>
                  </a:lnTo>
                  <a:lnTo>
                    <a:pt x="28453" y="35846"/>
                  </a:lnTo>
                  <a:lnTo>
                    <a:pt x="29649" y="35114"/>
                  </a:lnTo>
                  <a:lnTo>
                    <a:pt x="30774" y="34310"/>
                  </a:lnTo>
                  <a:lnTo>
                    <a:pt x="31846" y="33435"/>
                  </a:lnTo>
                  <a:lnTo>
                    <a:pt x="32846" y="32470"/>
                  </a:lnTo>
                  <a:lnTo>
                    <a:pt x="33775" y="31434"/>
                  </a:lnTo>
                  <a:lnTo>
                    <a:pt x="34650" y="30327"/>
                  </a:lnTo>
                  <a:lnTo>
                    <a:pt x="35418" y="29166"/>
                  </a:lnTo>
                  <a:lnTo>
                    <a:pt x="36115" y="27934"/>
                  </a:lnTo>
                  <a:lnTo>
                    <a:pt x="36722" y="26666"/>
                  </a:lnTo>
                  <a:lnTo>
                    <a:pt x="37240" y="25326"/>
                  </a:lnTo>
                  <a:lnTo>
                    <a:pt x="37454" y="24630"/>
                  </a:lnTo>
                  <a:lnTo>
                    <a:pt x="37651" y="23933"/>
                  </a:lnTo>
                  <a:lnTo>
                    <a:pt x="37954" y="22540"/>
                  </a:lnTo>
                  <a:lnTo>
                    <a:pt x="38151" y="21129"/>
                  </a:lnTo>
                  <a:lnTo>
                    <a:pt x="38258" y="19718"/>
                  </a:lnTo>
                  <a:lnTo>
                    <a:pt x="38240" y="18325"/>
                  </a:lnTo>
                  <a:lnTo>
                    <a:pt x="38133" y="16932"/>
                  </a:lnTo>
                  <a:lnTo>
                    <a:pt x="37919" y="15557"/>
                  </a:lnTo>
                  <a:lnTo>
                    <a:pt x="37615" y="14199"/>
                  </a:lnTo>
                  <a:lnTo>
                    <a:pt x="37204" y="12877"/>
                  </a:lnTo>
                  <a:lnTo>
                    <a:pt x="36704" y="11574"/>
                  </a:lnTo>
                  <a:lnTo>
                    <a:pt x="36115" y="10323"/>
                  </a:lnTo>
                  <a:lnTo>
                    <a:pt x="35418" y="9109"/>
                  </a:lnTo>
                  <a:lnTo>
                    <a:pt x="34632" y="7930"/>
                  </a:lnTo>
                  <a:lnTo>
                    <a:pt x="33775" y="6823"/>
                  </a:lnTo>
                  <a:lnTo>
                    <a:pt x="32810" y="5769"/>
                  </a:lnTo>
                  <a:lnTo>
                    <a:pt x="31775" y="4787"/>
                  </a:lnTo>
                  <a:lnTo>
                    <a:pt x="31221" y="4322"/>
                  </a:lnTo>
                  <a:lnTo>
                    <a:pt x="30256" y="3572"/>
                  </a:lnTo>
                  <a:lnTo>
                    <a:pt x="28220" y="2286"/>
                  </a:lnTo>
                  <a:lnTo>
                    <a:pt x="26113" y="1304"/>
                  </a:lnTo>
                  <a:lnTo>
                    <a:pt x="23934" y="607"/>
                  </a:lnTo>
                  <a:lnTo>
                    <a:pt x="21719" y="179"/>
                  </a:lnTo>
                  <a:lnTo>
                    <a:pt x="19487" y="0"/>
                  </a:lnTo>
                  <a:close/>
                </a:path>
              </a:pathLst>
            </a:custGeom>
            <a:grpFill/>
            <a:ln w="28575" cap="flat" cmpd="sng">
              <a:solidFill>
                <a:schemeClr val="accent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35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arkForMC Nrw O"/>
                <a:ea typeface="+mn-ea"/>
                <a:cs typeface="+mn-cs"/>
              </a:endParaRPr>
            </a:p>
          </p:txBody>
        </p:sp>
        <p:sp>
          <p:nvSpPr>
            <p:cNvPr id="29" name="Google Shape;504;p29">
              <a:extLst>
                <a:ext uri="{FF2B5EF4-FFF2-40B4-BE49-F238E27FC236}">
                  <a16:creationId xmlns:a16="http://schemas.microsoft.com/office/drawing/2014/main" id="{CCF38710-E056-224F-EE7C-CF39C4D5C020}"/>
                </a:ext>
              </a:extLst>
            </p:cNvPr>
            <p:cNvSpPr/>
            <p:nvPr/>
          </p:nvSpPr>
          <p:spPr>
            <a:xfrm>
              <a:off x="6657429" y="1966145"/>
              <a:ext cx="540000" cy="540000"/>
            </a:xfrm>
            <a:custGeom>
              <a:avLst/>
              <a:gdLst/>
              <a:ahLst/>
              <a:cxnLst/>
              <a:rect l="l" t="t" r="r" b="b"/>
              <a:pathLst>
                <a:path w="31900" h="31900" extrusionOk="0">
                  <a:moveTo>
                    <a:pt x="15182" y="0"/>
                  </a:moveTo>
                  <a:lnTo>
                    <a:pt x="13664" y="143"/>
                  </a:lnTo>
                  <a:lnTo>
                    <a:pt x="12146" y="429"/>
                  </a:lnTo>
                  <a:lnTo>
                    <a:pt x="10664" y="876"/>
                  </a:lnTo>
                  <a:lnTo>
                    <a:pt x="9235" y="1447"/>
                  </a:lnTo>
                  <a:lnTo>
                    <a:pt x="7842" y="2179"/>
                  </a:lnTo>
                  <a:lnTo>
                    <a:pt x="6502" y="3055"/>
                  </a:lnTo>
                  <a:lnTo>
                    <a:pt x="5252" y="4090"/>
                  </a:lnTo>
                  <a:lnTo>
                    <a:pt x="4663" y="4662"/>
                  </a:lnTo>
                  <a:lnTo>
                    <a:pt x="4091" y="5251"/>
                  </a:lnTo>
                  <a:lnTo>
                    <a:pt x="3073" y="6502"/>
                  </a:lnTo>
                  <a:lnTo>
                    <a:pt x="2198" y="7823"/>
                  </a:lnTo>
                  <a:lnTo>
                    <a:pt x="1466" y="9216"/>
                  </a:lnTo>
                  <a:lnTo>
                    <a:pt x="876" y="10663"/>
                  </a:lnTo>
                  <a:lnTo>
                    <a:pt x="430" y="12145"/>
                  </a:lnTo>
                  <a:lnTo>
                    <a:pt x="144" y="13646"/>
                  </a:lnTo>
                  <a:lnTo>
                    <a:pt x="1" y="15182"/>
                  </a:lnTo>
                  <a:lnTo>
                    <a:pt x="1" y="16718"/>
                  </a:lnTo>
                  <a:lnTo>
                    <a:pt x="144" y="18236"/>
                  </a:lnTo>
                  <a:lnTo>
                    <a:pt x="430" y="19754"/>
                  </a:lnTo>
                  <a:lnTo>
                    <a:pt x="876" y="21236"/>
                  </a:lnTo>
                  <a:lnTo>
                    <a:pt x="1466" y="22665"/>
                  </a:lnTo>
                  <a:lnTo>
                    <a:pt x="2198" y="24058"/>
                  </a:lnTo>
                  <a:lnTo>
                    <a:pt x="3073" y="25398"/>
                  </a:lnTo>
                  <a:lnTo>
                    <a:pt x="4091" y="26648"/>
                  </a:lnTo>
                  <a:lnTo>
                    <a:pt x="4663" y="27238"/>
                  </a:lnTo>
                  <a:lnTo>
                    <a:pt x="5252" y="27809"/>
                  </a:lnTo>
                  <a:lnTo>
                    <a:pt x="6502" y="28827"/>
                  </a:lnTo>
                  <a:lnTo>
                    <a:pt x="7842" y="29702"/>
                  </a:lnTo>
                  <a:lnTo>
                    <a:pt x="9235" y="30435"/>
                  </a:lnTo>
                  <a:lnTo>
                    <a:pt x="10664" y="31024"/>
                  </a:lnTo>
                  <a:lnTo>
                    <a:pt x="12146" y="31453"/>
                  </a:lnTo>
                  <a:lnTo>
                    <a:pt x="13664" y="31756"/>
                  </a:lnTo>
                  <a:lnTo>
                    <a:pt x="15182" y="31899"/>
                  </a:lnTo>
                  <a:lnTo>
                    <a:pt x="16718" y="31899"/>
                  </a:lnTo>
                  <a:lnTo>
                    <a:pt x="18237" y="31756"/>
                  </a:lnTo>
                  <a:lnTo>
                    <a:pt x="19755" y="31453"/>
                  </a:lnTo>
                  <a:lnTo>
                    <a:pt x="21237" y="31024"/>
                  </a:lnTo>
                  <a:lnTo>
                    <a:pt x="22684" y="30435"/>
                  </a:lnTo>
                  <a:lnTo>
                    <a:pt x="24059" y="29702"/>
                  </a:lnTo>
                  <a:lnTo>
                    <a:pt x="25399" y="28827"/>
                  </a:lnTo>
                  <a:lnTo>
                    <a:pt x="26649" y="27809"/>
                  </a:lnTo>
                  <a:lnTo>
                    <a:pt x="27238" y="27238"/>
                  </a:lnTo>
                  <a:lnTo>
                    <a:pt x="27810" y="26648"/>
                  </a:lnTo>
                  <a:lnTo>
                    <a:pt x="28828" y="25398"/>
                  </a:lnTo>
                  <a:lnTo>
                    <a:pt x="29703" y="24058"/>
                  </a:lnTo>
                  <a:lnTo>
                    <a:pt x="30435" y="22665"/>
                  </a:lnTo>
                  <a:lnTo>
                    <a:pt x="31025" y="21236"/>
                  </a:lnTo>
                  <a:lnTo>
                    <a:pt x="31471" y="19754"/>
                  </a:lnTo>
                  <a:lnTo>
                    <a:pt x="31757" y="18236"/>
                  </a:lnTo>
                  <a:lnTo>
                    <a:pt x="31900" y="16718"/>
                  </a:lnTo>
                  <a:lnTo>
                    <a:pt x="31900" y="15182"/>
                  </a:lnTo>
                  <a:lnTo>
                    <a:pt x="31757" y="13646"/>
                  </a:lnTo>
                  <a:lnTo>
                    <a:pt x="31471" y="12145"/>
                  </a:lnTo>
                  <a:lnTo>
                    <a:pt x="31025" y="10663"/>
                  </a:lnTo>
                  <a:lnTo>
                    <a:pt x="30435" y="9216"/>
                  </a:lnTo>
                  <a:lnTo>
                    <a:pt x="29703" y="7823"/>
                  </a:lnTo>
                  <a:lnTo>
                    <a:pt x="28828" y="6502"/>
                  </a:lnTo>
                  <a:lnTo>
                    <a:pt x="27810" y="5251"/>
                  </a:lnTo>
                  <a:lnTo>
                    <a:pt x="27238" y="4662"/>
                  </a:lnTo>
                  <a:lnTo>
                    <a:pt x="26649" y="4090"/>
                  </a:lnTo>
                  <a:lnTo>
                    <a:pt x="25399" y="3055"/>
                  </a:lnTo>
                  <a:lnTo>
                    <a:pt x="24059" y="2179"/>
                  </a:lnTo>
                  <a:lnTo>
                    <a:pt x="22684" y="1447"/>
                  </a:lnTo>
                  <a:lnTo>
                    <a:pt x="21237" y="876"/>
                  </a:lnTo>
                  <a:lnTo>
                    <a:pt x="19755" y="429"/>
                  </a:lnTo>
                  <a:lnTo>
                    <a:pt x="18237" y="143"/>
                  </a:lnTo>
                  <a:lnTo>
                    <a:pt x="16718" y="0"/>
                  </a:lnTo>
                  <a:close/>
                </a:path>
              </a:pathLst>
            </a:custGeom>
            <a:grpFill/>
            <a:ln>
              <a:solidFill>
                <a:schemeClr val="accent1"/>
              </a:solidFill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35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arkForMC Nrw O"/>
                <a:ea typeface="+mn-ea"/>
                <a:cs typeface="+mn-cs"/>
              </a:endParaRPr>
            </a:p>
          </p:txBody>
        </p:sp>
      </p:grpSp>
      <p:sp>
        <p:nvSpPr>
          <p:cNvPr id="30" name="TextBox 29">
            <a:extLst>
              <a:ext uri="{FF2B5EF4-FFF2-40B4-BE49-F238E27FC236}">
                <a16:creationId xmlns:a16="http://schemas.microsoft.com/office/drawing/2014/main" id="{6E28F823-2F3D-EF86-72E1-51650E87745C}"/>
              </a:ext>
            </a:extLst>
          </p:cNvPr>
          <p:cNvSpPr txBox="1"/>
          <p:nvPr/>
        </p:nvSpPr>
        <p:spPr bwMode="gray">
          <a:xfrm>
            <a:off x="3595875" y="1293409"/>
            <a:ext cx="412292" cy="313932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pPr marL="0" marR="0" lvl="0" indent="0" algn="l" defTabSz="685800" rtl="0" eaLnBrk="1" fontAlgn="auto" latinLnBrk="0" hangingPunct="1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6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arkForMC Nrw O"/>
                <a:ea typeface="+mn-ea"/>
                <a:cs typeface="+mn-cs"/>
              </a:rPr>
              <a:t>01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ABB5D52E-693C-7E92-ABE5-3A8242A519AC}"/>
              </a:ext>
            </a:extLst>
          </p:cNvPr>
          <p:cNvSpPr txBox="1"/>
          <p:nvPr/>
        </p:nvSpPr>
        <p:spPr bwMode="gray">
          <a:xfrm>
            <a:off x="3595875" y="1857168"/>
            <a:ext cx="412292" cy="313932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pPr marL="0" marR="0" lvl="0" indent="0" algn="l" defTabSz="685800" rtl="0" eaLnBrk="1" fontAlgn="auto" latinLnBrk="0" hangingPunct="1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6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arkForMC Nrw O"/>
                <a:ea typeface="+mn-ea"/>
                <a:cs typeface="+mn-cs"/>
              </a:rPr>
              <a:t>02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808EB061-740F-0B8E-BDF4-4757AACE38C0}"/>
              </a:ext>
            </a:extLst>
          </p:cNvPr>
          <p:cNvSpPr txBox="1"/>
          <p:nvPr/>
        </p:nvSpPr>
        <p:spPr bwMode="gray">
          <a:xfrm>
            <a:off x="3595875" y="2458491"/>
            <a:ext cx="412292" cy="313932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pPr marL="0" marR="0" lvl="0" indent="0" algn="l" defTabSz="685800" rtl="0" eaLnBrk="1" fontAlgn="auto" latinLnBrk="0" hangingPunct="1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6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arkForMC Nrw O"/>
                <a:ea typeface="+mn-ea"/>
                <a:cs typeface="+mn-cs"/>
              </a:rPr>
              <a:t>03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EA52A79F-D587-3722-2388-7251DA0D972A}"/>
              </a:ext>
            </a:extLst>
          </p:cNvPr>
          <p:cNvSpPr txBox="1"/>
          <p:nvPr/>
        </p:nvSpPr>
        <p:spPr bwMode="gray">
          <a:xfrm>
            <a:off x="3595875" y="3026081"/>
            <a:ext cx="412292" cy="313932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pPr marL="0" marR="0" lvl="0" indent="0" algn="l" defTabSz="685800" rtl="0" eaLnBrk="1" fontAlgn="auto" latinLnBrk="0" hangingPunct="1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6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arkForMC Nrw O"/>
                <a:ea typeface="+mn-ea"/>
                <a:cs typeface="+mn-cs"/>
              </a:rPr>
              <a:t>04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A1F10453-E802-696D-9494-4DCF501438E9}"/>
              </a:ext>
            </a:extLst>
          </p:cNvPr>
          <p:cNvSpPr txBox="1"/>
          <p:nvPr/>
        </p:nvSpPr>
        <p:spPr bwMode="gray">
          <a:xfrm>
            <a:off x="3595875" y="3598104"/>
            <a:ext cx="412292" cy="313932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pPr marL="0" marR="0" lvl="0" indent="0" algn="l" defTabSz="685800" rtl="0" eaLnBrk="1" fontAlgn="auto" latinLnBrk="0" hangingPunct="1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6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arkForMC Nrw O"/>
                <a:ea typeface="+mn-ea"/>
                <a:cs typeface="+mn-cs"/>
              </a:rPr>
              <a:t>05</a:t>
            </a:r>
          </a:p>
        </p:txBody>
      </p:sp>
      <p:sp>
        <p:nvSpPr>
          <p:cNvPr id="35" name="Isosceles Triangle 34">
            <a:extLst>
              <a:ext uri="{FF2B5EF4-FFF2-40B4-BE49-F238E27FC236}">
                <a16:creationId xmlns:a16="http://schemas.microsoft.com/office/drawing/2014/main" id="{38EFCB53-DE96-3CC0-BD18-A94F1EC492CC}"/>
              </a:ext>
            </a:extLst>
          </p:cNvPr>
          <p:cNvSpPr/>
          <p:nvPr/>
        </p:nvSpPr>
        <p:spPr bwMode="gray">
          <a:xfrm rot="5400000">
            <a:off x="1918600" y="2502264"/>
            <a:ext cx="2409825" cy="226386"/>
          </a:xfrm>
          <a:prstGeom prst="triangle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U" sz="1400" b="0" i="0" u="none" strike="noStrike" kern="1200" cap="none" spc="0" normalizeH="0" baseline="0" noProof="0" dirty="0">
              <a:ln>
                <a:noFill/>
              </a:ln>
              <a:solidFill>
                <a:srgbClr val="F7F7F7"/>
              </a:solidFill>
              <a:effectLst/>
              <a:uLnTx/>
              <a:uFillTx/>
              <a:latin typeface="MarkForMC Nrw O"/>
              <a:ea typeface="+mn-ea"/>
              <a:cs typeface="+mn-cs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1F894EDE-2CF1-A610-8599-CB24AD93DCCC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561053" y="4371312"/>
            <a:ext cx="468647" cy="326100"/>
          </a:xfrm>
          <a:prstGeom prst="rect">
            <a:avLst/>
          </a:prstGeom>
        </p:spPr>
      </p:pic>
      <p:sp>
        <p:nvSpPr>
          <p:cNvPr id="37" name="Shape 358">
            <a:extLst>
              <a:ext uri="{FF2B5EF4-FFF2-40B4-BE49-F238E27FC236}">
                <a16:creationId xmlns:a16="http://schemas.microsoft.com/office/drawing/2014/main" id="{CF501ECF-5A94-8189-6088-87653264FC9D}"/>
              </a:ext>
            </a:extLst>
          </p:cNvPr>
          <p:cNvSpPr/>
          <p:nvPr/>
        </p:nvSpPr>
        <p:spPr>
          <a:xfrm rot="16200000">
            <a:off x="8384182" y="3587504"/>
            <a:ext cx="1283363" cy="15388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none" lIns="45719" rIns="45719" anchor="ctr">
            <a:spAutoFit/>
          </a:bodyPr>
          <a:lstStyle>
            <a:lvl1pPr>
              <a:defRPr sz="400">
                <a:latin typeface="+mj-lt"/>
                <a:ea typeface="+mj-ea"/>
                <a:cs typeface="+mj-cs"/>
                <a:sym typeface="Mark Offc For MC"/>
              </a:defRPr>
            </a:lvl1pPr>
          </a:lstStyle>
          <a:p>
            <a:pPr marL="0" marR="0" lvl="0" indent="0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400" b="0" i="0" u="none" strike="noStrike" kern="1200" cap="none" spc="0" normalizeH="0" baseline="0" noProof="0" dirty="0">
                <a:ln>
                  <a:noFill/>
                </a:ln>
                <a:solidFill>
                  <a:srgbClr val="F7F7F7"/>
                </a:solidFill>
                <a:effectLst/>
                <a:uLnTx/>
                <a:uFillTx/>
                <a:latin typeface="Mark Offc For MC Light"/>
                <a:ea typeface="+mj-ea"/>
                <a:cs typeface="+mj-cs"/>
                <a:sym typeface="Mark Offc For MC"/>
              </a:rPr>
              <a:t>©202</a:t>
            </a:r>
            <a:r>
              <a:rPr kumimoji="0" lang="es-ES" sz="400" b="0" i="0" u="none" strike="noStrike" kern="1200" cap="none" spc="0" normalizeH="0" baseline="0" noProof="0" dirty="0">
                <a:ln>
                  <a:noFill/>
                </a:ln>
                <a:solidFill>
                  <a:srgbClr val="F7F7F7"/>
                </a:solidFill>
                <a:effectLst/>
                <a:uLnTx/>
                <a:uFillTx/>
                <a:latin typeface="Mark Offc For MC Light"/>
                <a:ea typeface="+mj-ea"/>
                <a:cs typeface="+mj-cs"/>
                <a:sym typeface="Mark Offc For MC"/>
              </a:rPr>
              <a:t>3</a:t>
            </a:r>
            <a:r>
              <a:rPr kumimoji="0" sz="400" b="0" i="0" u="none" strike="noStrike" kern="1200" cap="none" spc="0" normalizeH="0" baseline="0" noProof="0" dirty="0">
                <a:ln>
                  <a:noFill/>
                </a:ln>
                <a:solidFill>
                  <a:srgbClr val="F7F7F7"/>
                </a:solidFill>
                <a:effectLst/>
                <a:uLnTx/>
                <a:uFillTx/>
                <a:latin typeface="Mark Offc For MC Light"/>
                <a:ea typeface="+mj-ea"/>
                <a:cs typeface="+mj-cs"/>
                <a:sym typeface="Mark Offc For MC"/>
              </a:rPr>
              <a:t> Mastercard. Proprietary and confidential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D2EA9581-CC30-55EF-2E02-758C70233A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4594" y="192025"/>
            <a:ext cx="8412854" cy="369332"/>
          </a:xfrm>
        </p:spPr>
        <p:txBody>
          <a:bodyPr/>
          <a:lstStyle/>
          <a:p>
            <a:r>
              <a:rPr kumimoji="0" lang="en-AU" sz="2000" i="0" u="none" strike="noStrike" kern="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MarkForMC Nrw O" panose="020B0506020201010104" pitchFamily="34" charset="0"/>
                <a:ea typeface="+mn-ea"/>
                <a:cs typeface="+mn-cs"/>
              </a:rPr>
              <a:t>“Cash prevalence” increases the risk of…</a:t>
            </a:r>
            <a:endParaRPr lang="en-AU" sz="2000" dirty="0">
              <a:solidFill>
                <a:schemeClr val="accent1"/>
              </a:solidFill>
              <a:latin typeface="MarkForMC Nrw O" panose="020B0506020201010104" pitchFamily="34" charset="0"/>
            </a:endParaRPr>
          </a:p>
        </p:txBody>
      </p:sp>
      <p:sp>
        <p:nvSpPr>
          <p:cNvPr id="38" name="Footer Placeholder 37">
            <a:extLst>
              <a:ext uri="{FF2B5EF4-FFF2-40B4-BE49-F238E27FC236}">
                <a16:creationId xmlns:a16="http://schemas.microsoft.com/office/drawing/2014/main" id="{02652F41-98B4-0F14-9024-FEA4FEE686D7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Payment Innovation</a:t>
            </a:r>
            <a:endParaRPr lang="en-US" dirty="0"/>
          </a:p>
        </p:txBody>
      </p:sp>
      <p:sp>
        <p:nvSpPr>
          <p:cNvPr id="39" name="Slide Number Placeholder 38">
            <a:extLst>
              <a:ext uri="{FF2B5EF4-FFF2-40B4-BE49-F238E27FC236}">
                <a16:creationId xmlns:a16="http://schemas.microsoft.com/office/drawing/2014/main" id="{2F6EF4F2-3AF7-A606-7ACB-5C1BD3A5A674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3AB2DB24-5BB4-4F1B-973E-A10FA63DFB9A}" type="slidenum">
              <a:rPr lang="en-US" smtClean="0"/>
              <a:pPr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2898612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Addressograph Bartizan 4000 Credit Card Imprinter (with 100 Short Sales  Slips) on Galleon Philippines">
            <a:extLst>
              <a:ext uri="{FF2B5EF4-FFF2-40B4-BE49-F238E27FC236}">
                <a16:creationId xmlns:a16="http://schemas.microsoft.com/office/drawing/2014/main" id="{2556FF83-1222-5CFA-F691-86BF4A90F6C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861997"/>
            <a:ext cx="3114706" cy="31147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itle 7">
            <a:extLst>
              <a:ext uri="{FF2B5EF4-FFF2-40B4-BE49-F238E27FC236}">
                <a16:creationId xmlns:a16="http://schemas.microsoft.com/office/drawing/2014/main" id="{0FAD4EF5-B941-4C55-A3F1-0D782760090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4594" y="192025"/>
            <a:ext cx="8412854" cy="369332"/>
          </a:xfrm>
        </p:spPr>
        <p:txBody>
          <a:bodyPr/>
          <a:lstStyle/>
          <a:p>
            <a:r>
              <a:rPr lang="en-US" sz="2000" b="1" dirty="0">
                <a:solidFill>
                  <a:schemeClr val="accent1"/>
                </a:solidFill>
              </a:rPr>
              <a:t>A little bit on the history of innovation</a:t>
            </a:r>
          </a:p>
        </p:txBody>
      </p:sp>
      <p:sp>
        <p:nvSpPr>
          <p:cNvPr id="5" name="AutoShape 6" descr="The Detailed History of Credit Card Machines">
            <a:extLst>
              <a:ext uri="{FF2B5EF4-FFF2-40B4-BE49-F238E27FC236}">
                <a16:creationId xmlns:a16="http://schemas.microsoft.com/office/drawing/2014/main" id="{46D9BF58-79C0-91E1-4BF8-EBEA73E09942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4419600" y="241935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AU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9D865DB9-5838-408B-415D-DBDC2FB7DF0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500247" y="192025"/>
            <a:ext cx="4511840" cy="4670948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A38D42DB-563B-FF17-E359-40834F9B997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409182" y="1133475"/>
            <a:ext cx="3219450" cy="2876550"/>
          </a:xfrm>
          <a:prstGeom prst="rect">
            <a:avLst/>
          </a:prstGeom>
        </p:spPr>
      </p:pic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2B07C4F-391F-2CFF-E1C1-B8B2518EAD2A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Payment Innovation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9CA5068-4EFB-5E49-9D43-661841DFECB0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3AB2DB24-5BB4-4F1B-973E-A10FA63DFB9A}" type="slidenum">
              <a:rPr lang="en-US" smtClean="0"/>
              <a:pPr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6264585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>
            <a:extLst>
              <a:ext uri="{FF2B5EF4-FFF2-40B4-BE49-F238E27FC236}">
                <a16:creationId xmlns:a16="http://schemas.microsoft.com/office/drawing/2014/main" id="{ECD8A9E1-005A-82A0-92DA-A5B428639F5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1600" b="1" dirty="0">
                <a:solidFill>
                  <a:schemeClr val="accent1"/>
                </a:solidFill>
              </a:rPr>
              <a:t>A little bit on the history of innovation</a:t>
            </a:r>
            <a:endParaRPr lang="en-AU" dirty="0"/>
          </a:p>
        </p:txBody>
      </p:sp>
      <p:pic>
        <p:nvPicPr>
          <p:cNvPr id="7" name="Picture 4" descr="What is a chip and PIN machine?">
            <a:extLst>
              <a:ext uri="{FF2B5EF4-FFF2-40B4-BE49-F238E27FC236}">
                <a16:creationId xmlns:a16="http://schemas.microsoft.com/office/drawing/2014/main" id="{8671B6FF-4297-E6DB-2F0E-63D40A78BC2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73043" y="1316094"/>
            <a:ext cx="3455589" cy="28180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E64ACC69-D915-3B0E-0085-DB833AD4B87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546313" y="969288"/>
            <a:ext cx="2667336" cy="3375156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C5488727-307F-9793-424E-80BEC26A8259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ackgroundRemoval t="5447" b="93774" l="7429" r="89143">
                        <a14:foregroundMark x1="16018" y1="8171" x2="40000" y2="8171"/>
                        <a14:foregroundMark x1="40000" y1="8171" x2="70857" y2="7004"/>
                        <a14:foregroundMark x1="77532" y1="49805" x2="77714" y2="50973"/>
                        <a14:foregroundMark x1="70857" y1="7004" x2="77532" y2="49805"/>
                        <a14:foregroundMark x1="64318" y1="54580" x2="53143" y2="57588"/>
                        <a14:foregroundMark x1="77714" y1="50973" x2="68575" y2="53433"/>
                        <a14:foregroundMark x1="49720" y1="69242" x2="47429" y2="77043"/>
                        <a14:foregroundMark x1="53143" y1="57588" x2="52458" y2="59922"/>
                        <a14:foregroundMark x1="45417" y1="59922" x2="45143" y2="57588"/>
                        <a14:foregroundMark x1="47429" y1="77043" x2="46119" y2="65893"/>
                        <a14:foregroundMark x1="34152" y1="55945" x2="21714" y2="54086"/>
                        <a14:foregroundMark x1="45143" y1="57588" x2="36145" y2="56243"/>
                        <a14:foregroundMark x1="21714" y1="54086" x2="16571" y2="14397"/>
                        <a14:foregroundMark x1="16571" y1="14397" x2="54857" y2="17899"/>
                        <a14:foregroundMark x1="54857" y1="17899" x2="71429" y2="35019"/>
                        <a14:foregroundMark x1="71429" y1="35019" x2="21714" y2="38132"/>
                        <a14:foregroundMark x1="21714" y1="38132" x2="8571" y2="49805"/>
                        <a14:foregroundMark x1="8571" y1="49805" x2="61143" y2="51362"/>
                        <a14:foregroundMark x1="61143" y1="51362" x2="70857" y2="38521"/>
                        <a14:foregroundMark x1="9749" y1="6229" x2="9143" y2="6226"/>
                        <a14:foregroundMark x1="83429" y1="6615" x2="17280" y2="6269"/>
                        <a14:foregroundMark x1="12571" y1="51751" x2="36723" y2="58695"/>
                        <a14:foregroundMark x1="38869" y1="59157" x2="55940" y2="59545"/>
                        <a14:foregroundMark x1="86219" y1="50973" x2="88000" y2="49805"/>
                        <a14:foregroundMark x1="85626" y1="51362" x2="86219" y2="50973"/>
                        <a14:foregroundMark x1="82054" y1="53704" x2="85626" y2="51362"/>
                        <a14:foregroundMark x1="47341" y1="68667" x2="46286" y2="94163"/>
                        <a14:foregroundMark x1="43426" y1="65864" x2="42857" y2="87160"/>
                        <a14:foregroundMark x1="42857" y1="87160" x2="46286" y2="91829"/>
                        <a14:foregroundMark x1="13197" y1="8560" x2="7429" y2="9728"/>
                        <a14:foregroundMark x1="28571" y1="5447" x2="13197" y2="8560"/>
                        <a14:backgroundMark x1="60000" y1="61868" x2="70286" y2="61479"/>
                        <a14:backgroundMark x1="58857" y1="60311" x2="78286" y2="60700"/>
                        <a14:backgroundMark x1="56000" y1="59533" x2="59429" y2="67315"/>
                        <a14:backgroundMark x1="56000" y1="59922" x2="56000" y2="63035"/>
                        <a14:backgroundMark x1="38857" y1="59144" x2="37143" y2="59144"/>
                        <a14:backgroundMark x1="88571" y1="49805" x2="88571" y2="49805"/>
                        <a14:backgroundMark x1="89143" y1="51362" x2="89143" y2="51362"/>
                        <a14:backgroundMark x1="88000" y1="50973" x2="88000" y2="50973"/>
                        <a14:backgroundMark x1="9714" y1="5447" x2="9714" y2="5447"/>
                        <a14:backgroundMark x1="9143" y1="6615" x2="9143" y2="6615"/>
                        <a14:backgroundMark x1="10286" y1="5837" x2="10286" y2="5837"/>
                        <a14:backgroundMark x1="7429" y1="8560" x2="7429" y2="8560"/>
                      </a14:backgroundRemoval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16364" y="1485130"/>
            <a:ext cx="1411176" cy="2072413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E0699BFA-E384-18AC-9AE5-F7ACBA931EF1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ackgroundRemoval t="5702" b="92544" l="10000" r="90000">
                        <a14:foregroundMark x1="15882" y1="12281" x2="17059" y2="57895"/>
                        <a14:foregroundMark x1="18235" y1="57895" x2="77647" y2="61404"/>
                        <a14:foregroundMark x1="15882" y1="9211" x2="67059" y2="12281"/>
                        <a14:foregroundMark x1="67059" y1="12281" x2="85294" y2="36404"/>
                        <a14:foregroundMark x1="85294" y1="36404" x2="81176" y2="59211"/>
                        <a14:foregroundMark x1="82941" y1="21930" x2="52353" y2="6140"/>
                        <a14:foregroundMark x1="52353" y1="6140" x2="52353" y2="6140"/>
                        <a14:foregroundMark x1="47059" y1="65351" x2="47059" y2="78070"/>
                        <a14:foregroundMark x1="43529" y1="90789" x2="52353" y2="90789"/>
                        <a14:foregroundMark x1="41765" y1="91667" x2="52353" y2="92544"/>
                        <a14:foregroundMark x1="55294" y1="42982" x2="55294" y2="42982"/>
                        <a14:foregroundMark x1="39412" y1="29386" x2="55882" y2="46491"/>
                      </a14:backgroundRemoval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398477" y="1490798"/>
            <a:ext cx="1396033" cy="1872326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5897E9DC-D125-A110-28BF-8BFA175F2EA3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Payment Innovation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09972ED-DC30-68DE-53D8-0B71C27CD7A4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3AB2DB24-5BB4-4F1B-973E-A10FA63DFB9A}" type="slidenum">
              <a:rPr lang="en-US" smtClean="0"/>
              <a:pPr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6005447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Object 18" hidden="1">
            <a:extLst>
              <a:ext uri="{FF2B5EF4-FFF2-40B4-BE49-F238E27FC236}">
                <a16:creationId xmlns:a16="http://schemas.microsoft.com/office/drawing/2014/main" id="{CCA1C9DF-81E9-00D8-FE0D-B87A07E6A64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16" imgH="416" progId="TCLayout.ActiveDocument.1">
                  <p:embed/>
                </p:oleObj>
              </mc:Choice>
              <mc:Fallback>
                <p:oleObj name="think-cell Slide" r:id="rId4" imgW="416" imgH="416" progId="TCLayout.ActiveDocument.1">
                  <p:embed/>
                  <p:pic>
                    <p:nvPicPr>
                      <p:cNvPr id="19" name="Object 18" hidden="1">
                        <a:extLst>
                          <a:ext uri="{FF2B5EF4-FFF2-40B4-BE49-F238E27FC236}">
                            <a16:creationId xmlns:a16="http://schemas.microsoft.com/office/drawing/2014/main" id="{CCA1C9DF-81E9-00D8-FE0D-B87A07E6A64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 Placeholder 3">
            <a:extLst>
              <a:ext uri="{FF2B5EF4-FFF2-40B4-BE49-F238E27FC236}">
                <a16:creationId xmlns:a16="http://schemas.microsoft.com/office/drawing/2014/main" id="{2F52F673-2F16-CBE3-E7F6-284581F084B6}"/>
              </a:ext>
            </a:extLst>
          </p:cNvPr>
          <p:cNvSpPr txBox="1">
            <a:spLocks/>
          </p:cNvSpPr>
          <p:nvPr/>
        </p:nvSpPr>
        <p:spPr>
          <a:xfrm>
            <a:off x="142270" y="4018414"/>
            <a:ext cx="228598" cy="273844"/>
          </a:xfrm>
          <a:prstGeom prst="rect">
            <a:avLst/>
          </a:prstGeom>
        </p:spPr>
        <p:txBody>
          <a:bodyPr vert="horz" lIns="68580" tIns="34290" rIns="0" bIns="34290" rtlCol="0" anchor="ctr"/>
          <a:lstStyle>
            <a:defPPr>
              <a:defRPr lang="en-US"/>
            </a:defPPr>
            <a:lvl1pPr defTabSz="914377">
              <a:defRPr sz="800" b="1" cap="all" baseline="0">
                <a:solidFill>
                  <a:srgbClr val="FFFFFF"/>
                </a:solidFill>
                <a:latin typeface="Mark Offc For MC" panose="020B0504020101010102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AB2DB24-5BB4-4F1B-973E-A10FA63DFB9A}" type="slidenum">
              <a:rPr kumimoji="0" lang="en-US" sz="600" b="1" i="0" u="none" strike="noStrike" kern="1200" cap="all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Mark Offc For MC" panose="020B0504020101010102" pitchFamily="34" charset="0"/>
                <a:ea typeface="+mn-ea"/>
                <a:cs typeface="+mn-cs"/>
              </a:rPr>
              <a:pPr marL="0" marR="0" lvl="0" indent="0" algn="l" defTabSz="68578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US" sz="600" b="1" i="0" u="none" strike="noStrike" kern="1200" cap="all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Mark Offc For MC" panose="020B0504020101010102" pitchFamily="34" charset="0"/>
              <a:ea typeface="+mn-ea"/>
              <a:cs typeface="+mn-cs"/>
            </a:endParaRPr>
          </a:p>
        </p:txBody>
      </p:sp>
      <p:sp>
        <p:nvSpPr>
          <p:cNvPr id="5" name="Slide Number Placeholder 3">
            <a:extLst>
              <a:ext uri="{FF2B5EF4-FFF2-40B4-BE49-F238E27FC236}">
                <a16:creationId xmlns:a16="http://schemas.microsoft.com/office/drawing/2014/main" id="{0B2FFAA9-C33D-35EE-92E9-BF40EF79AB14}"/>
              </a:ext>
            </a:extLst>
          </p:cNvPr>
          <p:cNvSpPr txBox="1">
            <a:spLocks/>
          </p:cNvSpPr>
          <p:nvPr/>
        </p:nvSpPr>
        <p:spPr>
          <a:xfrm>
            <a:off x="142270" y="4018414"/>
            <a:ext cx="228598" cy="273844"/>
          </a:xfrm>
          <a:prstGeom prst="rect">
            <a:avLst/>
          </a:prstGeom>
        </p:spPr>
        <p:txBody>
          <a:bodyPr vert="horz" lIns="68580" tIns="34290" rIns="0" bIns="34290" rtlCol="0" anchor="ctr"/>
          <a:lstStyle>
            <a:defPPr>
              <a:defRPr lang="en-US"/>
            </a:defPPr>
            <a:lvl1pPr defTabSz="914377">
              <a:defRPr sz="800" b="1" cap="all" baseline="0">
                <a:solidFill>
                  <a:srgbClr val="FFFFFF"/>
                </a:solidFill>
                <a:latin typeface="Mark Offc For MC" panose="020B0504020101010102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AB2DB24-5BB4-4F1B-973E-A10FA63DFB9A}" type="slidenum">
              <a:rPr kumimoji="0" lang="en-AU" sz="600" b="1" i="0" u="none" strike="noStrike" kern="1200" cap="all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Mark Offc For MC" panose="020B0504020101010102" pitchFamily="34" charset="0"/>
                <a:ea typeface="+mn-ea"/>
                <a:cs typeface="+mn-cs"/>
              </a:rPr>
              <a:pPr marL="0" marR="0" lvl="0" indent="0" algn="l" defTabSz="68578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AU" sz="600" b="1" i="0" u="none" strike="noStrike" kern="1200" cap="all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Mark Offc For MC" panose="020B0504020101010102" pitchFamily="34" charset="0"/>
              <a:ea typeface="+mn-ea"/>
              <a:cs typeface="+mn-cs"/>
            </a:endParaRP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DC18E014-7644-5957-D18C-B3C60C3F8448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561053" y="4734048"/>
            <a:ext cx="468647" cy="326100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9150A430-75E3-E1D0-76BF-263549C6E3D7}"/>
              </a:ext>
            </a:extLst>
          </p:cNvPr>
          <p:cNvSpPr txBox="1"/>
          <p:nvPr/>
        </p:nvSpPr>
        <p:spPr bwMode="gray">
          <a:xfrm>
            <a:off x="134694" y="1348034"/>
            <a:ext cx="2867863" cy="227754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R="0" lvl="0" algn="l" defTabSz="6858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accent3"/>
              </a:buClr>
              <a:buSzTx/>
              <a:tabLst/>
              <a:defRPr/>
            </a:pPr>
            <a:r>
              <a:rPr lang="en-AU" sz="1100" dirty="0">
                <a:latin typeface="Mark Offc For MC-MarkF-ZCAE7wLp"/>
              </a:rPr>
              <a:t>Digital payments have been driven by the recent </a:t>
            </a:r>
            <a:r>
              <a:rPr lang="en-AU" sz="1100" b="1" dirty="0">
                <a:latin typeface="Mark Offc For MC-MarkF-ZCAE7wLp"/>
              </a:rPr>
              <a:t>pandemic and technological advancements </a:t>
            </a:r>
            <a:r>
              <a:rPr lang="en-AU" sz="1100" dirty="0">
                <a:latin typeface="Mark Offc For MC-MarkF-ZCAE7wLp"/>
              </a:rPr>
              <a:t>that enhance customer experience, security and financial inclusion </a:t>
            </a:r>
          </a:p>
          <a:p>
            <a:pPr marR="0" lvl="0" algn="l" defTabSz="6858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accent3"/>
              </a:buClr>
              <a:buSzTx/>
              <a:tabLst/>
              <a:defRPr/>
            </a:pPr>
            <a:r>
              <a:rPr lang="en-AU" sz="1100" dirty="0">
                <a:latin typeface="Mark Offc For MC-MarkF-ZCAE7wLp"/>
              </a:rPr>
              <a:t>Some of the fastest growth in digital payments occurred in Africa and Southeast Asia, where </a:t>
            </a:r>
            <a:r>
              <a:rPr lang="en-AU" sz="1100" b="1" dirty="0">
                <a:latin typeface="Mark Offc For MC-MarkF-ZCAE7wLp"/>
              </a:rPr>
              <a:t>low banking penetration gives payments providers opportunities to capture untapped potential and reach underserved populations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4C30479C-CCB4-CB34-9465-F6A744198832}"/>
              </a:ext>
            </a:extLst>
          </p:cNvPr>
          <p:cNvSpPr txBox="1"/>
          <p:nvPr/>
        </p:nvSpPr>
        <p:spPr bwMode="gray">
          <a:xfrm>
            <a:off x="3680977" y="955234"/>
            <a:ext cx="5013351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914400">
              <a:defRPr/>
            </a:pPr>
            <a:r>
              <a:rPr lang="en-AU" sz="1200" b="1" kern="0" dirty="0">
                <a:solidFill>
                  <a:schemeClr val="accent1"/>
                </a:solidFill>
              </a:rPr>
              <a:t>Mobile Commerce: </a:t>
            </a:r>
            <a:r>
              <a:rPr lang="en-US" sz="1200" dirty="0"/>
              <a:t>The trend towards convenience, accessibility and personalisation has made mobile commerce an attractive proposition for businesses and consumers</a:t>
            </a:r>
          </a:p>
        </p:txBody>
      </p:sp>
      <p:pic>
        <p:nvPicPr>
          <p:cNvPr id="10377" name="Picture 2" descr="21 Tips Every Amazon Addict Should Know | PCMag">
            <a:extLst>
              <a:ext uri="{FF2B5EF4-FFF2-40B4-BE49-F238E27FC236}">
                <a16:creationId xmlns:a16="http://schemas.microsoft.com/office/drawing/2014/main" id="{EDC4B19A-94BF-7208-EC76-98AFB1ED764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686" r="19686"/>
          <a:stretch/>
        </p:blipFill>
        <p:spPr bwMode="auto">
          <a:xfrm>
            <a:off x="3333019" y="1011289"/>
            <a:ext cx="288000" cy="288000"/>
          </a:xfrm>
          <a:prstGeom prst="ellipse">
            <a:avLst/>
          </a:prstGeom>
          <a:ln w="12700">
            <a:solidFill>
              <a:srgbClr val="D8CFB2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3" name="TextBox 42">
            <a:extLst>
              <a:ext uri="{FF2B5EF4-FFF2-40B4-BE49-F238E27FC236}">
                <a16:creationId xmlns:a16="http://schemas.microsoft.com/office/drawing/2014/main" id="{E17ED1E4-86A3-C993-C858-D297EB2F628F}"/>
              </a:ext>
            </a:extLst>
          </p:cNvPr>
          <p:cNvSpPr txBox="1"/>
          <p:nvPr/>
        </p:nvSpPr>
        <p:spPr bwMode="gray">
          <a:xfrm>
            <a:off x="3680977" y="1509590"/>
            <a:ext cx="5123077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914400">
              <a:defRPr/>
            </a:pPr>
            <a:r>
              <a:rPr lang="en-AU" sz="1200" b="1" kern="0" dirty="0">
                <a:solidFill>
                  <a:schemeClr val="accent1"/>
                </a:solidFill>
              </a:rPr>
              <a:t>Mobile P2P: </a:t>
            </a:r>
            <a:r>
              <a:rPr lang="en-US" sz="1200" dirty="0"/>
              <a:t>M-Pesa Kenya and Vodafone M-PAiSA in Fiji are two P2P technologies that have enabled underbanked residents to send money conveniently</a:t>
            </a:r>
          </a:p>
        </p:txBody>
      </p:sp>
      <p:pic>
        <p:nvPicPr>
          <p:cNvPr id="10378" name="Picture 2" descr="Relief as New M-PESA App Unveiled; Road to 1 Million Downloads">
            <a:extLst>
              <a:ext uri="{FF2B5EF4-FFF2-40B4-BE49-F238E27FC236}">
                <a16:creationId xmlns:a16="http://schemas.microsoft.com/office/drawing/2014/main" id="{70657E37-B2D1-4AAA-65A2-FDFAEC9C3EB7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7001" r="17001"/>
          <a:stretch/>
        </p:blipFill>
        <p:spPr bwMode="auto">
          <a:xfrm>
            <a:off x="3325488" y="1503367"/>
            <a:ext cx="288000" cy="288000"/>
          </a:xfrm>
          <a:prstGeom prst="ellipse">
            <a:avLst/>
          </a:prstGeom>
          <a:ln w="12700">
            <a:solidFill>
              <a:srgbClr val="D8CFB2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6" name="TextBox 45">
            <a:extLst>
              <a:ext uri="{FF2B5EF4-FFF2-40B4-BE49-F238E27FC236}">
                <a16:creationId xmlns:a16="http://schemas.microsoft.com/office/drawing/2014/main" id="{51CF47AB-FDB8-3A2D-F428-1C83A27A68A6}"/>
              </a:ext>
            </a:extLst>
          </p:cNvPr>
          <p:cNvSpPr txBox="1"/>
          <p:nvPr/>
        </p:nvSpPr>
        <p:spPr bwMode="gray">
          <a:xfrm>
            <a:off x="3680977" y="2071503"/>
            <a:ext cx="5218549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914400">
              <a:defRPr/>
            </a:pPr>
            <a:r>
              <a:rPr lang="en-AU" sz="1200" b="1" kern="0" dirty="0">
                <a:solidFill>
                  <a:schemeClr val="accent1"/>
                </a:solidFill>
              </a:rPr>
              <a:t>Contactless: </a:t>
            </a:r>
            <a:r>
              <a:rPr lang="en-US" sz="1200" dirty="0"/>
              <a:t>Consumers enjoy a faster checkout experience, greater convenience, and robust security features for their transactions</a:t>
            </a:r>
          </a:p>
        </p:txBody>
      </p:sp>
      <p:pic>
        <p:nvPicPr>
          <p:cNvPr id="10379" name="Picture 2" descr="Contactless Credit Cards: The Good, the Bad, and the Ugly | Reviews by  Wirecutter">
            <a:extLst>
              <a:ext uri="{FF2B5EF4-FFF2-40B4-BE49-F238E27FC236}">
                <a16:creationId xmlns:a16="http://schemas.microsoft.com/office/drawing/2014/main" id="{936CF77B-61AF-E110-A3E9-AD746FB412B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0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000" r="25000"/>
          <a:stretch/>
        </p:blipFill>
        <p:spPr bwMode="auto">
          <a:xfrm>
            <a:off x="3329313" y="2044431"/>
            <a:ext cx="288000" cy="288000"/>
          </a:xfrm>
          <a:prstGeom prst="ellipse">
            <a:avLst/>
          </a:prstGeom>
          <a:ln w="12700">
            <a:solidFill>
              <a:srgbClr val="D8CFB2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9" name="TextBox 48">
            <a:extLst>
              <a:ext uri="{FF2B5EF4-FFF2-40B4-BE49-F238E27FC236}">
                <a16:creationId xmlns:a16="http://schemas.microsoft.com/office/drawing/2014/main" id="{752645B7-4562-3E34-D99A-319DE857E82B}"/>
              </a:ext>
            </a:extLst>
          </p:cNvPr>
          <p:cNvSpPr txBox="1"/>
          <p:nvPr/>
        </p:nvSpPr>
        <p:spPr bwMode="gray">
          <a:xfrm>
            <a:off x="3680977" y="2515391"/>
            <a:ext cx="5234166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914400">
              <a:defRPr/>
            </a:pPr>
            <a:r>
              <a:rPr lang="en-AU" sz="1200" b="1" kern="0" dirty="0">
                <a:solidFill>
                  <a:schemeClr val="accent1"/>
                </a:solidFill>
              </a:rPr>
              <a:t>BNPL: </a:t>
            </a:r>
            <a:r>
              <a:rPr lang="en-US" sz="1200" dirty="0"/>
              <a:t>Buy Now Pay Later has thrived because it combines the flexibility of credit with short repayment terms, app-based shopping, and a simple user experience</a:t>
            </a:r>
          </a:p>
        </p:txBody>
      </p:sp>
      <p:pic>
        <p:nvPicPr>
          <p:cNvPr id="10380" name="Picture 2" descr="Best Buy Now Pay Later Apps - Payments Review">
            <a:extLst>
              <a:ext uri="{FF2B5EF4-FFF2-40B4-BE49-F238E27FC236}">
                <a16:creationId xmlns:a16="http://schemas.microsoft.com/office/drawing/2014/main" id="{19E4A318-9177-4CB8-1E83-6D8F1EC728E7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1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660" r="16660"/>
          <a:stretch/>
        </p:blipFill>
        <p:spPr bwMode="auto">
          <a:xfrm>
            <a:off x="3325488" y="2571446"/>
            <a:ext cx="288000" cy="288000"/>
          </a:xfrm>
          <a:prstGeom prst="ellipse">
            <a:avLst/>
          </a:prstGeom>
          <a:ln w="12700">
            <a:solidFill>
              <a:srgbClr val="D8CFB2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5" name="TextBox 54">
            <a:extLst>
              <a:ext uri="{FF2B5EF4-FFF2-40B4-BE49-F238E27FC236}">
                <a16:creationId xmlns:a16="http://schemas.microsoft.com/office/drawing/2014/main" id="{46562D5B-3C82-8AF7-5379-C584B163DAA3}"/>
              </a:ext>
            </a:extLst>
          </p:cNvPr>
          <p:cNvSpPr txBox="1"/>
          <p:nvPr/>
        </p:nvSpPr>
        <p:spPr bwMode="gray">
          <a:xfrm>
            <a:off x="3680977" y="3737319"/>
            <a:ext cx="5233582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914400">
              <a:defRPr/>
            </a:pPr>
            <a:r>
              <a:rPr lang="en-AU" sz="1200" b="1" kern="0" dirty="0">
                <a:solidFill>
                  <a:schemeClr val="accent1"/>
                </a:solidFill>
              </a:rPr>
              <a:t>Smart Cities: </a:t>
            </a:r>
            <a:r>
              <a:rPr lang="en-US" sz="1200" dirty="0"/>
              <a:t>Tolling payment apps, mobile ticketing in buses and street parking senses are examples of initiatives facilitating the shift towards smart cities</a:t>
            </a:r>
          </a:p>
        </p:txBody>
      </p:sp>
      <p:pic>
        <p:nvPicPr>
          <p:cNvPr id="10382" name="Picture 2" descr="Smart Cities, Smart Mobility - Transforming the way we live and work">
            <a:extLst>
              <a:ext uri="{FF2B5EF4-FFF2-40B4-BE49-F238E27FC236}">
                <a16:creationId xmlns:a16="http://schemas.microsoft.com/office/drawing/2014/main" id="{88B9DC5F-EEB6-88FF-DC9D-3A84D5DAD0C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2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504" r="21504"/>
          <a:stretch/>
        </p:blipFill>
        <p:spPr bwMode="auto">
          <a:xfrm>
            <a:off x="3333019" y="3748032"/>
            <a:ext cx="288000" cy="288000"/>
          </a:xfrm>
          <a:prstGeom prst="ellipse">
            <a:avLst/>
          </a:prstGeom>
          <a:ln w="12700">
            <a:solidFill>
              <a:srgbClr val="D8CFB2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2" name="TextBox 51">
            <a:extLst>
              <a:ext uri="{FF2B5EF4-FFF2-40B4-BE49-F238E27FC236}">
                <a16:creationId xmlns:a16="http://schemas.microsoft.com/office/drawing/2014/main" id="{8A6E5E5C-A6BB-98B0-412C-5300160CDA03}"/>
              </a:ext>
            </a:extLst>
          </p:cNvPr>
          <p:cNvSpPr txBox="1"/>
          <p:nvPr/>
        </p:nvSpPr>
        <p:spPr bwMode="gray">
          <a:xfrm>
            <a:off x="3680977" y="3104645"/>
            <a:ext cx="5215068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914400">
              <a:defRPr/>
            </a:pPr>
            <a:r>
              <a:rPr lang="en-AU" sz="1200" b="1" kern="0" dirty="0">
                <a:solidFill>
                  <a:schemeClr val="accent1"/>
                </a:solidFill>
              </a:rPr>
              <a:t>SME Bundling: </a:t>
            </a:r>
            <a:r>
              <a:rPr lang="en-US" sz="1200" dirty="0"/>
              <a:t>SMEs require to access high performance in a simple and secure way at a low price, early stage and growth-minded SMEs have a higher affinity to pick up a bundled solution</a:t>
            </a:r>
            <a:endParaRPr lang="en-AU" sz="1200" b="1" kern="0" dirty="0"/>
          </a:p>
        </p:txBody>
      </p:sp>
      <p:pic>
        <p:nvPicPr>
          <p:cNvPr id="10383" name="Picture 10382">
            <a:extLst>
              <a:ext uri="{FF2B5EF4-FFF2-40B4-BE49-F238E27FC236}">
                <a16:creationId xmlns:a16="http://schemas.microsoft.com/office/drawing/2014/main" id="{BE071CA0-65F2-B186-05A8-B1823152F05A}"/>
              </a:ext>
            </a:extLst>
          </p:cNvPr>
          <p:cNvPicPr>
            <a:picLocks noChangeAspect="1"/>
          </p:cNvPicPr>
          <p:nvPr/>
        </p:nvPicPr>
        <p:blipFill rotWithShape="1">
          <a:blip r:embed="rId13">
            <a:duotone>
              <a:prstClr val="black"/>
              <a:schemeClr val="tx2">
                <a:tint val="45000"/>
                <a:satMod val="400000"/>
              </a:schemeClr>
            </a:duotone>
          </a:blip>
          <a:srcRect l="23735" r="23735"/>
          <a:stretch/>
        </p:blipFill>
        <p:spPr>
          <a:xfrm>
            <a:off x="3333019" y="3154517"/>
            <a:ext cx="288000" cy="288000"/>
          </a:xfrm>
          <a:prstGeom prst="ellipse">
            <a:avLst/>
          </a:prstGeom>
          <a:ln w="12700">
            <a:solidFill>
              <a:srgbClr val="D8CFB2"/>
            </a:solidFill>
          </a:ln>
        </p:spPr>
      </p:pic>
      <p:sp>
        <p:nvSpPr>
          <p:cNvPr id="9" name="Shape 358">
            <a:extLst>
              <a:ext uri="{FF2B5EF4-FFF2-40B4-BE49-F238E27FC236}">
                <a16:creationId xmlns:a16="http://schemas.microsoft.com/office/drawing/2014/main" id="{04074DA0-C0B5-C4CB-F9FF-A1E384E4AE55}"/>
              </a:ext>
            </a:extLst>
          </p:cNvPr>
          <p:cNvSpPr/>
          <p:nvPr/>
        </p:nvSpPr>
        <p:spPr>
          <a:xfrm rot="16200000">
            <a:off x="7407601" y="3888685"/>
            <a:ext cx="3236525" cy="27699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none" lIns="45719" rIns="45719" anchor="ctr">
            <a:spAutoFit/>
          </a:bodyPr>
          <a:lstStyle>
            <a:lvl1pPr>
              <a:defRPr sz="400">
                <a:latin typeface="+mj-lt"/>
                <a:ea typeface="+mj-ea"/>
                <a:cs typeface="+mj-cs"/>
                <a:sym typeface="Mark Offc For MC"/>
              </a:defRPr>
            </a:lvl1pPr>
          </a:lstStyle>
          <a:p>
            <a:pPr marL="0" marR="0" lvl="0" indent="0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2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n-lt"/>
                <a:sym typeface="Mark Offc For MC"/>
              </a:rPr>
              <a:t>©202</a:t>
            </a:r>
            <a:r>
              <a:rPr lang="es-ES" sz="1200" dirty="0">
                <a:latin typeface="+mn-lt"/>
              </a:rPr>
              <a:t>3 </a:t>
            </a:r>
            <a:r>
              <a:rPr kumimoji="0" sz="12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n-lt"/>
                <a:sym typeface="Mark Offc For MC"/>
              </a:rPr>
              <a:t>Mastercard. Proprietary and confidential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D95A36BF-F6BD-4E35-5947-4150FD8395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4594" y="192025"/>
            <a:ext cx="8412854" cy="535531"/>
          </a:xfrm>
        </p:spPr>
        <p:txBody>
          <a:bodyPr/>
          <a:lstStyle/>
          <a:p>
            <a:br>
              <a:rPr lang="en-IN" sz="1600" b="1" spc="900" dirty="0">
                <a:solidFill>
                  <a:schemeClr val="accent1"/>
                </a:solidFill>
                <a:latin typeface="MarkForMC Nrw O"/>
                <a:ea typeface="+mn-ea"/>
                <a:cs typeface="+mn-cs"/>
              </a:rPr>
            </a:br>
            <a:endParaRPr lang="en-AU" dirty="0"/>
          </a:p>
        </p:txBody>
      </p:sp>
      <p:sp>
        <p:nvSpPr>
          <p:cNvPr id="11" name="Title 3">
            <a:extLst>
              <a:ext uri="{FF2B5EF4-FFF2-40B4-BE49-F238E27FC236}">
                <a16:creationId xmlns:a16="http://schemas.microsoft.com/office/drawing/2014/main" id="{4C1CCCF5-F288-B466-BFA0-97A036688226}"/>
              </a:ext>
            </a:extLst>
          </p:cNvPr>
          <p:cNvSpPr txBox="1">
            <a:spLocks/>
          </p:cNvSpPr>
          <p:nvPr/>
        </p:nvSpPr>
        <p:spPr bwMode="gray">
          <a:xfrm>
            <a:off x="164594" y="192025"/>
            <a:ext cx="8412854" cy="369332"/>
          </a:xfrm>
          <a:prstGeom prst="rect">
            <a:avLst/>
          </a:prstGeom>
        </p:spPr>
        <p:txBody>
          <a:bodyPr vert="horz" wrap="square" lIns="91440" tIns="45720" rIns="91440" bIns="45720" rtlCol="0" anchor="t" anchorCtr="0">
            <a:spAutoFit/>
          </a:bodyPr>
          <a:lstStyle>
            <a:lvl1pPr algn="l" defTabSz="68578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1600" b="0" kern="1200">
                <a:solidFill>
                  <a:schemeClr val="tx1"/>
                </a:solidFill>
                <a:latin typeface="Mark Offc For MC Medium" panose="020B0604020101010102" pitchFamily="34" charset="0"/>
                <a:ea typeface="+mj-ea"/>
                <a:cs typeface="+mj-cs"/>
              </a:defRPr>
            </a:lvl1pPr>
          </a:lstStyle>
          <a:p>
            <a:r>
              <a:rPr lang="en-AU" sz="2000" b="1" kern="0" dirty="0">
                <a:solidFill>
                  <a:schemeClr val="accent1"/>
                </a:solidFill>
                <a:latin typeface="MarkForMC Nrw O" panose="020B0506020201010104" pitchFamily="34" charset="0"/>
                <a:ea typeface="+mn-ea"/>
                <a:cs typeface="+mn-cs"/>
              </a:rPr>
              <a:t>Globally the most recent and prevalent digital payments trends</a:t>
            </a:r>
            <a:endParaRPr lang="en-AU" sz="2000" b="1" dirty="0">
              <a:solidFill>
                <a:schemeClr val="accent1"/>
              </a:solidFill>
              <a:latin typeface="MarkForMC Nrw O" panose="020B0506020201010104" pitchFamily="34" charset="0"/>
            </a:endParaRPr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81CB28C7-0A11-695F-83AD-78B8809FB732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Payment Innovation</a:t>
            </a:r>
            <a:endParaRPr lang="en-US" dirty="0"/>
          </a:p>
        </p:txBody>
      </p:sp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DCA0C2C1-362F-C55E-776B-6C2F017B3980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3AB2DB24-5BB4-4F1B-973E-A10FA63DFB9A}" type="slidenum">
              <a:rPr lang="en-US" smtClean="0"/>
              <a:pPr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9670871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839DD749-4301-4453-909C-9D6DF6FD528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418142" y="1300580"/>
            <a:ext cx="5458009" cy="3587563"/>
          </a:xfrm>
        </p:spPr>
        <p:txBody>
          <a:bodyPr/>
          <a:lstStyle/>
          <a:p>
            <a:endParaRPr lang="en-US" dirty="0"/>
          </a:p>
          <a:p>
            <a:endParaRPr lang="en-US" dirty="0"/>
          </a:p>
          <a:p>
            <a:r>
              <a:rPr lang="en-US" dirty="0"/>
              <a:t>SME inclusion needs to be addressed</a:t>
            </a:r>
          </a:p>
          <a:p>
            <a:r>
              <a:rPr lang="en-US" dirty="0"/>
              <a:t>Sell unique and amazing products to the world!</a:t>
            </a:r>
          </a:p>
          <a:p>
            <a:r>
              <a:rPr lang="en-US" dirty="0"/>
              <a:t>Merchants want omni-channel capabilities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0FAD4EF5-B941-4C55-A3F1-0D782760090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4594" y="192025"/>
            <a:ext cx="8412854" cy="369332"/>
          </a:xfrm>
        </p:spPr>
        <p:txBody>
          <a:bodyPr/>
          <a:lstStyle/>
          <a:p>
            <a:r>
              <a:rPr lang="en-US" sz="2000" dirty="0">
                <a:solidFill>
                  <a:schemeClr val="accent1"/>
                </a:solidFill>
              </a:rPr>
              <a:t>Payment Innovation in The Pacific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150875E-4DA4-5E87-5D95-D61C178BAE3C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Payment Innovation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753ADE7-902E-A01B-6402-B86AF1245FC3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3AB2DB24-5BB4-4F1B-973E-A10FA63DFB9A}" type="slidenum">
              <a:rPr lang="en-US" smtClean="0"/>
              <a:pPr/>
              <a:t>8</a:t>
            </a:fld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FCF8192E-2B39-93A7-A8D9-357AB1A9285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7492" y="1401482"/>
            <a:ext cx="2986278" cy="22397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8322493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839DD749-4301-4453-909C-9D6DF6FD528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Uses the merchant’s own phone</a:t>
            </a:r>
          </a:p>
          <a:p>
            <a:r>
              <a:rPr lang="en-US" dirty="0"/>
              <a:t>It’s an app</a:t>
            </a:r>
          </a:p>
          <a:p>
            <a:r>
              <a:rPr lang="en-US" dirty="0"/>
              <a:t>Removes the need for a terminal and associated costs</a:t>
            </a:r>
          </a:p>
          <a:p>
            <a:r>
              <a:rPr lang="en-US" dirty="0"/>
              <a:t>Able to transact with customers who don’t have local currency</a:t>
            </a:r>
          </a:p>
          <a:p>
            <a:endParaRPr lang="en-US" dirty="0"/>
          </a:p>
          <a:p>
            <a:r>
              <a:rPr lang="en-US" dirty="0"/>
              <a:t>Creates a digital footprint for the merchant</a:t>
            </a:r>
          </a:p>
          <a:p>
            <a:r>
              <a:rPr lang="en-US" dirty="0"/>
              <a:t>Applications for ground transport, water transport, markets, gas deliveries………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0FAD4EF5-B941-4C55-A3F1-0D782760090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4594" y="192025"/>
            <a:ext cx="8412854" cy="369332"/>
          </a:xfrm>
        </p:spPr>
        <p:txBody>
          <a:bodyPr/>
          <a:lstStyle/>
          <a:p>
            <a:r>
              <a:rPr lang="en-US" sz="2000" b="1" dirty="0">
                <a:solidFill>
                  <a:schemeClr val="accent1"/>
                </a:solidFill>
              </a:rPr>
              <a:t>Tap on Phone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D705A2F2-DAAB-35AC-8BBD-B558C0A2BCD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23152" y="999006"/>
            <a:ext cx="2667336" cy="3375156"/>
          </a:xfrm>
          <a:prstGeom prst="rect">
            <a:avLst/>
          </a:prstGeom>
        </p:spPr>
      </p:pic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3E8AD1B-3AE4-0BF9-C83B-0F9EE4F41C88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Payment Innovation</a:t>
            </a: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370D6DA-30B0-FD09-5B8C-A6A3FDC03609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3AB2DB24-5BB4-4F1B-973E-A10FA63DFB9A}" type="slidenum">
              <a:rPr lang="en-US" smtClean="0"/>
              <a:pPr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63118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mc_template_20190705">
  <a:themeElements>
    <a:clrScheme name="Mastercard 2016 Aug 19">
      <a:dk1>
        <a:srgbClr val="171717"/>
      </a:dk1>
      <a:lt1>
        <a:srgbClr val="F7F7F7"/>
      </a:lt1>
      <a:dk2>
        <a:srgbClr val="171717"/>
      </a:dk2>
      <a:lt2>
        <a:srgbClr val="D22A2F"/>
      </a:lt2>
      <a:accent1>
        <a:srgbClr val="FF671B"/>
      </a:accent1>
      <a:accent2>
        <a:srgbClr val="F38B00"/>
      </a:accent2>
      <a:accent3>
        <a:srgbClr val="FFC81F"/>
      </a:accent3>
      <a:accent4>
        <a:srgbClr val="8DB92E"/>
      </a:accent4>
      <a:accent5>
        <a:srgbClr val="4FCDB0"/>
      </a:accent5>
      <a:accent6>
        <a:srgbClr val="E8E8E8"/>
      </a:accent6>
      <a:hlink>
        <a:srgbClr val="0563C1"/>
      </a:hlink>
      <a:folHlink>
        <a:srgbClr val="E8E8E8"/>
      </a:folHlink>
    </a:clrScheme>
    <a:fontScheme name="Mastercard 2016 Mark Offc Sept12">
      <a:majorFont>
        <a:latin typeface="Mark Offc For MC Light"/>
        <a:ea typeface=""/>
        <a:cs typeface=""/>
      </a:majorFont>
      <a:minorFont>
        <a:latin typeface="MarkForMC Nrw 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gray">
        <a:ln>
          <a:noFill/>
        </a:ln>
      </a:spPr>
      <a:bodyPr rtlCol="0" anchor="ctr"/>
      <a:lstStyle>
        <a:defPPr algn="ctr">
          <a:defRPr sz="1400" dirty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 w="12700"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square" rtlCol="0">
        <a:spAutoFit/>
      </a:bodyPr>
      <a:lstStyle>
        <a:defPPr>
          <a:lnSpc>
            <a:spcPct val="90000"/>
          </a:lnSpc>
          <a:spcBef>
            <a:spcPts val="600"/>
          </a:spcBef>
          <a:defRPr sz="140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mc_template_8ST.potx" id="{5405C9FA-591B-423D-9861-604982ED4834}" vid="{BE2D1D4B-5B21-44CB-8F77-9C461D51DBB5}"/>
    </a:ext>
  </a:extLst>
</a:theme>
</file>

<file path=ppt/theme/theme2.xml><?xml version="1.0" encoding="utf-8"?>
<a:theme xmlns:a="http://schemas.openxmlformats.org/drawingml/2006/main" name="Office Theme">
  <a:themeElements>
    <a:clrScheme name="Mastercard 2016 Aug 19">
      <a:dk1>
        <a:srgbClr val="171717"/>
      </a:dk1>
      <a:lt1>
        <a:srgbClr val="F7F7F7"/>
      </a:lt1>
      <a:dk2>
        <a:srgbClr val="171717"/>
      </a:dk2>
      <a:lt2>
        <a:srgbClr val="D22A2F"/>
      </a:lt2>
      <a:accent1>
        <a:srgbClr val="FF671B"/>
      </a:accent1>
      <a:accent2>
        <a:srgbClr val="F38B00"/>
      </a:accent2>
      <a:accent3>
        <a:srgbClr val="FFC81F"/>
      </a:accent3>
      <a:accent4>
        <a:srgbClr val="8DB92E"/>
      </a:accent4>
      <a:accent5>
        <a:srgbClr val="4FCDB0"/>
      </a:accent5>
      <a:accent6>
        <a:srgbClr val="E8E8E8"/>
      </a:accent6>
      <a:hlink>
        <a:srgbClr val="0563C1"/>
      </a:hlink>
      <a:folHlink>
        <a:srgbClr val="E8E8E8"/>
      </a:folHlink>
    </a:clrScheme>
    <a:fontScheme name="Mastercard 2016 Mark Offc Sept10">
      <a:majorFont>
        <a:latin typeface="Mark Offc For MC Light"/>
        <a:ea typeface=""/>
        <a:cs typeface=""/>
      </a:majorFont>
      <a:minorFont>
        <a:latin typeface="MarkForMC Nrw PP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Mastercard 2016 Aug 19">
      <a:dk1>
        <a:srgbClr val="171717"/>
      </a:dk1>
      <a:lt1>
        <a:srgbClr val="F7F7F7"/>
      </a:lt1>
      <a:dk2>
        <a:srgbClr val="171717"/>
      </a:dk2>
      <a:lt2>
        <a:srgbClr val="D22A2F"/>
      </a:lt2>
      <a:accent1>
        <a:srgbClr val="FF671B"/>
      </a:accent1>
      <a:accent2>
        <a:srgbClr val="F38B00"/>
      </a:accent2>
      <a:accent3>
        <a:srgbClr val="FFC81F"/>
      </a:accent3>
      <a:accent4>
        <a:srgbClr val="8DB92E"/>
      </a:accent4>
      <a:accent5>
        <a:srgbClr val="4FCDB0"/>
      </a:accent5>
      <a:accent6>
        <a:srgbClr val="E8E8E8"/>
      </a:accent6>
      <a:hlink>
        <a:srgbClr val="0563C1"/>
      </a:hlink>
      <a:folHlink>
        <a:srgbClr val="E8E8E8"/>
      </a:folHlink>
    </a:clrScheme>
    <a:fontScheme name="Mastercard 2016 Mark Offc Sept10">
      <a:majorFont>
        <a:latin typeface="Mark Offc For MC Light"/>
        <a:ea typeface=""/>
        <a:cs typeface=""/>
      </a:majorFont>
      <a:minorFont>
        <a:latin typeface="MarkForMC Nrw PP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700" row="9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8F2869AB-A7E6-49DA-B356-DAF3EDC1EE6B}">
  <we:reference id="ff1b65c4-be5a-40bc-9967-5937b8daad41" version="1.0.0.1" store="EXCatalog" storeType="EXCatalog"/>
  <we:alternateReferences/>
  <we:properties>
    <we:property name="Office.AutoShowTaskpaneWithDocument" value="true"/>
  </we:properties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>mc_template_8ST</Template>
  <TotalTime>3047</TotalTime>
  <Words>1045</Words>
  <Application>Microsoft Office PowerPoint</Application>
  <PresentationFormat>On-screen Show (16:9)</PresentationFormat>
  <Paragraphs>123</Paragraphs>
  <Slides>10</Slides>
  <Notes>10</Notes>
  <HiddenSlides>0</HiddenSlides>
  <MMClips>0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0</vt:i4>
      </vt:variant>
    </vt:vector>
  </HeadingPairs>
  <TitlesOfParts>
    <vt:vector size="21" baseType="lpstr">
      <vt:lpstr>Arial</vt:lpstr>
      <vt:lpstr>Calibri</vt:lpstr>
      <vt:lpstr>Mark Offc For MC</vt:lpstr>
      <vt:lpstr>Mark Offc For MC Extra Light</vt:lpstr>
      <vt:lpstr>Mark Offc For MC Light</vt:lpstr>
      <vt:lpstr>Mark Offc For MC Medium</vt:lpstr>
      <vt:lpstr>Mark Offc For MC-MarkF-ZCAE7wLp</vt:lpstr>
      <vt:lpstr>MarkForMC Nrw O</vt:lpstr>
      <vt:lpstr>Montserrat Black</vt:lpstr>
      <vt:lpstr>mc_template_20190705</vt:lpstr>
      <vt:lpstr>think-cell Slide</vt:lpstr>
      <vt:lpstr>Payment Innovation (with a Pacific Lense)</vt:lpstr>
      <vt:lpstr>Our Focus on the Pacific</vt:lpstr>
      <vt:lpstr>Innovation</vt:lpstr>
      <vt:lpstr>“Cash prevalence” increases the risk of…</vt:lpstr>
      <vt:lpstr>A little bit on the history of innovation</vt:lpstr>
      <vt:lpstr>A little bit on the history of innovation</vt:lpstr>
      <vt:lpstr> </vt:lpstr>
      <vt:lpstr>Payment Innovation in The Pacific</vt:lpstr>
      <vt:lpstr>Tap on Phone</vt:lpstr>
      <vt:lpstr>eCommerce in the Pacific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ayment Innovation</dc:title>
  <dc:creator>Craig Kirkland</dc:creator>
  <cp:lastModifiedBy>Craig Kirkland</cp:lastModifiedBy>
  <cp:revision>2</cp:revision>
  <dcterms:created xsi:type="dcterms:W3CDTF">2023-10-30T23:14:08Z</dcterms:created>
  <dcterms:modified xsi:type="dcterms:W3CDTF">2023-11-04T23:14:1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c_template_date">
    <vt:lpwstr>20191108</vt:lpwstr>
  </property>
  <property fmtid="{D5CDD505-2E9C-101B-9397-08002B2CF9AE}" pid="3" name="MSIP_Label_df2f77bf-ac71-4d31-be38-cc6a5f811e56_Enabled">
    <vt:lpwstr>true</vt:lpwstr>
  </property>
  <property fmtid="{D5CDD505-2E9C-101B-9397-08002B2CF9AE}" pid="4" name="MSIP_Label_df2f77bf-ac71-4d31-be38-cc6a5f811e56_SetDate">
    <vt:lpwstr>2023-10-31T00:09:52Z</vt:lpwstr>
  </property>
  <property fmtid="{D5CDD505-2E9C-101B-9397-08002B2CF9AE}" pid="5" name="MSIP_Label_df2f77bf-ac71-4d31-be38-cc6a5f811e56_Method">
    <vt:lpwstr>Privileged</vt:lpwstr>
  </property>
  <property fmtid="{D5CDD505-2E9C-101B-9397-08002B2CF9AE}" pid="6" name="MSIP_Label_df2f77bf-ac71-4d31-be38-cc6a5f811e56_Name">
    <vt:lpwstr>Restricted</vt:lpwstr>
  </property>
  <property fmtid="{D5CDD505-2E9C-101B-9397-08002B2CF9AE}" pid="7" name="MSIP_Label_df2f77bf-ac71-4d31-be38-cc6a5f811e56_SiteId">
    <vt:lpwstr>f06fa858-824b-4a85-aacb-f372cfdc282e</vt:lpwstr>
  </property>
  <property fmtid="{D5CDD505-2E9C-101B-9397-08002B2CF9AE}" pid="8" name="MSIP_Label_df2f77bf-ac71-4d31-be38-cc6a5f811e56_ActionId">
    <vt:lpwstr>2f14788a-b9c3-4294-897e-d628dc47aa00</vt:lpwstr>
  </property>
  <property fmtid="{D5CDD505-2E9C-101B-9397-08002B2CF9AE}" pid="9" name="MSIP_Label_df2f77bf-ac71-4d31-be38-cc6a5f811e56_ContentBits">
    <vt:lpwstr>0</vt:lpwstr>
  </property>
</Properties>
</file>